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customXml/itemProps19.xml" ContentType="application/vnd.openxmlformats-officedocument.customXmlProperties+xml"/>
  <Override PartName="/customXml/itemProps20.xml" ContentType="application/vnd.openxmlformats-officedocument.customXmlProperties+xml"/>
  <Override PartName="/customXml/itemProps21.xml" ContentType="application/vnd.openxmlformats-officedocument.customXmlProperties+xml"/>
  <Override PartName="/customXml/itemProps22.xml" ContentType="application/vnd.openxmlformats-officedocument.customXmlProperties+xml"/>
  <Override PartName="/customXml/itemProps23.xml" ContentType="application/vnd.openxmlformats-officedocument.customXmlProperties+xml"/>
  <Override PartName="/customXml/itemProps24.xml" ContentType="application/vnd.openxmlformats-officedocument.customXmlProperties+xml"/>
  <Override PartName="/customXml/itemProps25.xml" ContentType="application/vnd.openxmlformats-officedocument.customXmlProperties+xml"/>
  <Override PartName="/customXml/itemProps26.xml" ContentType="application/vnd.openxmlformats-officedocument.customXmlProperties+xml"/>
  <Override PartName="/customXml/itemProps27.xml" ContentType="application/vnd.openxmlformats-officedocument.customXmlProperties+xml"/>
  <Override PartName="/customXml/itemProps28.xml" ContentType="application/vnd.openxmlformats-officedocument.customXmlProperties+xml"/>
  <Override PartName="/customXml/itemProps29.xml" ContentType="application/vnd.openxmlformats-officedocument.customXmlProperties+xml"/>
  <Override PartName="/customXml/itemProps30.xml" ContentType="application/vnd.openxmlformats-officedocument.customXmlProperties+xml"/>
  <Override PartName="/customXml/itemProps31.xml" ContentType="application/vnd.openxmlformats-officedocument.customXmlProperties+xml"/>
  <Override PartName="/customXml/itemProps32.xml" ContentType="application/vnd.openxmlformats-officedocument.customXmlProperties+xml"/>
  <Override PartName="/customXml/itemProps33.xml" ContentType="application/vnd.openxmlformats-officedocument.customXmlProperties+xml"/>
  <Override PartName="/customXml/itemProps34.xml" ContentType="application/vnd.openxmlformats-officedocument.customXmlProperties+xml"/>
  <Override PartName="/customXml/itemProps35.xml" ContentType="application/vnd.openxmlformats-officedocument.customXmlProperties+xml"/>
  <Override PartName="/customXml/itemProps36.xml" ContentType="application/vnd.openxmlformats-officedocument.customXmlProperties+xml"/>
  <Override PartName="/customXml/itemProps37.xml" ContentType="application/vnd.openxmlformats-officedocument.customXmlProperties+xml"/>
  <Override PartName="/customXml/itemProps38.xml" ContentType="application/vnd.openxmlformats-officedocument.customXmlProperties+xml"/>
  <Override PartName="/customXml/itemProps39.xml" ContentType="application/vnd.openxmlformats-officedocument.customXmlProperties+xml"/>
  <Override PartName="/customXml/itemProps40.xml" ContentType="application/vnd.openxmlformats-officedocument.customXmlProperties+xml"/>
  <Override PartName="/customXml/itemProps41.xml" ContentType="application/vnd.openxmlformats-officedocument.customXmlProperties+xml"/>
  <Override PartName="/customXml/itemProps42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heme/themeOverride1.xml" ContentType="application/vnd.openxmlformats-officedocument.themeOverride+xml"/>
  <Override PartName="/ppt/comments/modernComment_7FFFFFC3_EBECD394.xml" ContentType="application/vnd.ms-powerpoint.comments+xml"/>
  <Override PartName="/ppt/notesSlides/notesSlide4.xml" ContentType="application/vnd.openxmlformats-officedocument.presentationml.notesSlide+xml"/>
  <Override PartName="/ppt/theme/themeOverride2.xml" ContentType="application/vnd.openxmlformats-officedocument.themeOverr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heme/themeOverride3.xml" ContentType="application/vnd.openxmlformats-officedocument.themeOverr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heme/themeOverride4.xml" ContentType="application/vnd.openxmlformats-officedocument.themeOverride+xml"/>
  <Override PartName="/ppt/comments/modernComment_7FFFFFCD_C2E5F52C.xml" ContentType="application/vnd.ms-powerpoint.comments+xml"/>
  <Override PartName="/ppt/notesSlides/notesSlide10.xml" ContentType="application/vnd.openxmlformats-officedocument.presentationml.notesSlide+xml"/>
  <Override PartName="/ppt/comments/modernComment_7FFFFFCE_1C6C9F39.xml" ContentType="application/vnd.ms-powerpoint.comments+xml"/>
  <Override PartName="/ppt/notesSlides/notesSlide11.xml" ContentType="application/vnd.openxmlformats-officedocument.presentationml.notesSlide+xml"/>
  <Override PartName="/ppt/theme/themeOverride5.xml" ContentType="application/vnd.openxmlformats-officedocument.themeOverride+xml"/>
  <Override PartName="/ppt/comments/modernComment_7FFFFFD0_108BEBD8.xml" ContentType="application/vnd.ms-powerpoint.comment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theme/themeOverride6.xml" ContentType="application/vnd.openxmlformats-officedocument.themeOverride+xml"/>
  <Override PartName="/ppt/comments/modernComment_7FFFFFD4_80447165.xml" ContentType="application/vnd.ms-powerpoint.comments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3"/>
    <p:sldMasterId id="2147483739" r:id="rId44"/>
    <p:sldMasterId id="2147483695" r:id="rId45"/>
  </p:sldMasterIdLst>
  <p:notesMasterIdLst>
    <p:notesMasterId r:id="rId83"/>
  </p:notesMasterIdLst>
  <p:handoutMasterIdLst>
    <p:handoutMasterId r:id="rId84"/>
  </p:handoutMasterIdLst>
  <p:sldIdLst>
    <p:sldId id="327" r:id="rId46"/>
    <p:sldId id="348" r:id="rId47"/>
    <p:sldId id="411" r:id="rId48"/>
    <p:sldId id="412" r:id="rId49"/>
    <p:sldId id="405" r:id="rId50"/>
    <p:sldId id="358" r:id="rId51"/>
    <p:sldId id="413" r:id="rId52"/>
    <p:sldId id="414" r:id="rId53"/>
    <p:sldId id="357" r:id="rId54"/>
    <p:sldId id="363" r:id="rId55"/>
    <p:sldId id="364" r:id="rId56"/>
    <p:sldId id="355" r:id="rId57"/>
    <p:sldId id="266" r:id="rId58"/>
    <p:sldId id="341" r:id="rId59"/>
    <p:sldId id="2147483586" r:id="rId60"/>
    <p:sldId id="2147483587" r:id="rId61"/>
    <p:sldId id="2147483588" r:id="rId62"/>
    <p:sldId id="2147483589" r:id="rId63"/>
    <p:sldId id="2147483590" r:id="rId64"/>
    <p:sldId id="2147483591" r:id="rId65"/>
    <p:sldId id="2147483592" r:id="rId66"/>
    <p:sldId id="2147483593" r:id="rId67"/>
    <p:sldId id="2147483594" r:id="rId68"/>
    <p:sldId id="2147483595" r:id="rId69"/>
    <p:sldId id="2147483596" r:id="rId70"/>
    <p:sldId id="2147483597" r:id="rId71"/>
    <p:sldId id="2147483598" r:id="rId72"/>
    <p:sldId id="2147483599" r:id="rId73"/>
    <p:sldId id="2147483600" r:id="rId74"/>
    <p:sldId id="2147483601" r:id="rId75"/>
    <p:sldId id="2147483603" r:id="rId76"/>
    <p:sldId id="2147483604" r:id="rId77"/>
    <p:sldId id="2147483602" r:id="rId78"/>
    <p:sldId id="2147483605" r:id="rId79"/>
    <p:sldId id="2147483606" r:id="rId80"/>
    <p:sldId id="2147483607" r:id="rId81"/>
    <p:sldId id="331" r:id="rId82"/>
  </p:sldIdLst>
  <p:sldSz cx="12192000" cy="6858000"/>
  <p:notesSz cx="6797675" cy="9928225"/>
  <p:custDataLst>
    <p:tags r:id="rId85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Manuál" id="{408380FB-4F99-42DE-8F5E-011F828B4DF7}">
          <p14:sldIdLst/>
        </p14:section>
        <p14:section name="Základní" id="{365017AE-5214-4843-B5CD-47A97DA7DDBB}">
          <p14:sldIdLst>
            <p14:sldId id="327"/>
            <p14:sldId id="348"/>
            <p14:sldId id="411"/>
            <p14:sldId id="412"/>
            <p14:sldId id="405"/>
            <p14:sldId id="358"/>
            <p14:sldId id="413"/>
            <p14:sldId id="414"/>
            <p14:sldId id="357"/>
            <p14:sldId id="363"/>
            <p14:sldId id="364"/>
            <p14:sldId id="355"/>
            <p14:sldId id="266"/>
            <p14:sldId id="341"/>
            <p14:sldId id="2147483586"/>
            <p14:sldId id="2147483587"/>
            <p14:sldId id="2147483588"/>
            <p14:sldId id="2147483589"/>
            <p14:sldId id="2147483590"/>
            <p14:sldId id="2147483591"/>
            <p14:sldId id="2147483592"/>
            <p14:sldId id="2147483593"/>
            <p14:sldId id="2147483594"/>
            <p14:sldId id="2147483595"/>
            <p14:sldId id="2147483596"/>
            <p14:sldId id="2147483597"/>
            <p14:sldId id="2147483598"/>
            <p14:sldId id="2147483599"/>
            <p14:sldId id="2147483600"/>
            <p14:sldId id="2147483601"/>
            <p14:sldId id="2147483603"/>
            <p14:sldId id="2147483604"/>
            <p14:sldId id="2147483602"/>
            <p14:sldId id="2147483605"/>
            <p14:sldId id="2147483606"/>
            <p14:sldId id="2147483607"/>
            <p14:sldId id="331"/>
          </p14:sldIdLst>
        </p14:section>
        <p14:section name="Rozšířené" id="{C1FF39B1-E3E0-4273-ABCA-291057EBC573}">
          <p14:sldIdLst/>
        </p14:section>
      </p14:sectionLst>
    </p:ext>
    <p:ext uri="{EFAFB233-063F-42B5-8137-9DF3F51BA10A}">
      <p15:sldGuideLst xmlns:p15="http://schemas.microsoft.com/office/powerpoint/2012/main">
        <p15:guide id="16" orient="horz" pos="5269" userDrawn="1">
          <p15:clr>
            <a:srgbClr val="A4A3A4"/>
          </p15:clr>
        </p15:guide>
        <p15:guide id="17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FBA4B00C-7085-DF13-BDC9-47494F25F692}" name="Pytlíček Zdeněk" initials="PZ" userId="S::zdenek.pytlicek@gasnet.cz::f1b96d20-667b-444a-b19d-4ff707ea1486" providerId="AD"/>
  <p188:author id="{9A2D5336-2061-88A5-581C-0D790ECED7A2}" name="Kolafová Martina" initials="KM" userId="S::martina.kolafova@gasnet.cz::e6d1e1d4-c53d-46a7-bc4b-94abe340970e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handouts2" frameSlides="1"/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A3333"/>
    <a:srgbClr val="EBEBEA"/>
    <a:srgbClr val="3C3732"/>
    <a:srgbClr val="32373C"/>
    <a:srgbClr val="64B42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B050CFC-5B60-4CB0-90C1-6B3AA2BC9A6B}" v="3" dt="2024-09-24T06:31:36.09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5400" autoAdjust="0"/>
  </p:normalViewPr>
  <p:slideViewPr>
    <p:cSldViewPr showGuides="1">
      <p:cViewPr varScale="1">
        <p:scale>
          <a:sx n="102" d="100"/>
          <a:sy n="102" d="100"/>
        </p:scale>
        <p:origin x="870" y="102"/>
      </p:cViewPr>
      <p:guideLst>
        <p:guide orient="horz" pos="5269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howGuides="1">
      <p:cViewPr varScale="1">
        <p:scale>
          <a:sx n="81" d="100"/>
          <a:sy n="81" d="100"/>
        </p:scale>
        <p:origin x="3726" y="114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customXml" Target="../customXml/item26.xml"/><Relationship Id="rId21" Type="http://schemas.openxmlformats.org/officeDocument/2006/relationships/customXml" Target="../customXml/item21.xml"/><Relationship Id="rId42" Type="http://schemas.openxmlformats.org/officeDocument/2006/relationships/customXml" Target="../customXml/item42.xml"/><Relationship Id="rId47" Type="http://schemas.openxmlformats.org/officeDocument/2006/relationships/slide" Target="slides/slide2.xml"/><Relationship Id="rId63" Type="http://schemas.openxmlformats.org/officeDocument/2006/relationships/slide" Target="slides/slide18.xml"/><Relationship Id="rId68" Type="http://schemas.openxmlformats.org/officeDocument/2006/relationships/slide" Target="slides/slide23.xml"/><Relationship Id="rId84" Type="http://schemas.openxmlformats.org/officeDocument/2006/relationships/handoutMaster" Target="handoutMasters/handoutMaster1.xml"/><Relationship Id="rId89" Type="http://schemas.openxmlformats.org/officeDocument/2006/relationships/tableStyles" Target="tableStyles.xml"/><Relationship Id="rId16" Type="http://schemas.openxmlformats.org/officeDocument/2006/relationships/customXml" Target="../customXml/item16.xml"/><Relationship Id="rId11" Type="http://schemas.openxmlformats.org/officeDocument/2006/relationships/customXml" Target="../customXml/item11.xml"/><Relationship Id="rId32" Type="http://schemas.openxmlformats.org/officeDocument/2006/relationships/customXml" Target="../customXml/item32.xml"/><Relationship Id="rId37" Type="http://schemas.openxmlformats.org/officeDocument/2006/relationships/customXml" Target="../customXml/item37.xml"/><Relationship Id="rId53" Type="http://schemas.openxmlformats.org/officeDocument/2006/relationships/slide" Target="slides/slide8.xml"/><Relationship Id="rId58" Type="http://schemas.openxmlformats.org/officeDocument/2006/relationships/slide" Target="slides/slide13.xml"/><Relationship Id="rId74" Type="http://schemas.openxmlformats.org/officeDocument/2006/relationships/slide" Target="slides/slide29.xml"/><Relationship Id="rId79" Type="http://schemas.openxmlformats.org/officeDocument/2006/relationships/slide" Target="slides/slide34.xml"/><Relationship Id="rId5" Type="http://schemas.openxmlformats.org/officeDocument/2006/relationships/customXml" Target="../customXml/item5.xml"/><Relationship Id="rId90" Type="http://schemas.microsoft.com/office/2016/11/relationships/changesInfo" Target="changesInfos/changesInfo1.xml"/><Relationship Id="rId14" Type="http://schemas.openxmlformats.org/officeDocument/2006/relationships/customXml" Target="../customXml/item14.xml"/><Relationship Id="rId22" Type="http://schemas.openxmlformats.org/officeDocument/2006/relationships/customXml" Target="../customXml/item22.xml"/><Relationship Id="rId27" Type="http://schemas.openxmlformats.org/officeDocument/2006/relationships/customXml" Target="../customXml/item27.xml"/><Relationship Id="rId30" Type="http://schemas.openxmlformats.org/officeDocument/2006/relationships/customXml" Target="../customXml/item30.xml"/><Relationship Id="rId35" Type="http://schemas.openxmlformats.org/officeDocument/2006/relationships/customXml" Target="../customXml/item35.xml"/><Relationship Id="rId43" Type="http://schemas.openxmlformats.org/officeDocument/2006/relationships/slideMaster" Target="slideMasters/slideMaster1.xml"/><Relationship Id="rId48" Type="http://schemas.openxmlformats.org/officeDocument/2006/relationships/slide" Target="slides/slide3.xml"/><Relationship Id="rId56" Type="http://schemas.openxmlformats.org/officeDocument/2006/relationships/slide" Target="slides/slide11.xml"/><Relationship Id="rId64" Type="http://schemas.openxmlformats.org/officeDocument/2006/relationships/slide" Target="slides/slide19.xml"/><Relationship Id="rId69" Type="http://schemas.openxmlformats.org/officeDocument/2006/relationships/slide" Target="slides/slide24.xml"/><Relationship Id="rId77" Type="http://schemas.openxmlformats.org/officeDocument/2006/relationships/slide" Target="slides/slide32.xml"/><Relationship Id="rId8" Type="http://schemas.openxmlformats.org/officeDocument/2006/relationships/customXml" Target="../customXml/item8.xml"/><Relationship Id="rId51" Type="http://schemas.openxmlformats.org/officeDocument/2006/relationships/slide" Target="slides/slide6.xml"/><Relationship Id="rId72" Type="http://schemas.openxmlformats.org/officeDocument/2006/relationships/slide" Target="slides/slide27.xml"/><Relationship Id="rId80" Type="http://schemas.openxmlformats.org/officeDocument/2006/relationships/slide" Target="slides/slide35.xml"/><Relationship Id="rId85" Type="http://schemas.openxmlformats.org/officeDocument/2006/relationships/tags" Target="tags/tag1.xml"/><Relationship Id="rId3" Type="http://schemas.openxmlformats.org/officeDocument/2006/relationships/customXml" Target="../customXml/item3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customXml" Target="../customXml/item25.xml"/><Relationship Id="rId33" Type="http://schemas.openxmlformats.org/officeDocument/2006/relationships/customXml" Target="../customXml/item33.xml"/><Relationship Id="rId38" Type="http://schemas.openxmlformats.org/officeDocument/2006/relationships/customXml" Target="../customXml/item38.xml"/><Relationship Id="rId46" Type="http://schemas.openxmlformats.org/officeDocument/2006/relationships/slide" Target="slides/slide1.xml"/><Relationship Id="rId59" Type="http://schemas.openxmlformats.org/officeDocument/2006/relationships/slide" Target="slides/slide14.xml"/><Relationship Id="rId67" Type="http://schemas.openxmlformats.org/officeDocument/2006/relationships/slide" Target="slides/slide22.xml"/><Relationship Id="rId20" Type="http://schemas.openxmlformats.org/officeDocument/2006/relationships/customXml" Target="../customXml/item20.xml"/><Relationship Id="rId41" Type="http://schemas.openxmlformats.org/officeDocument/2006/relationships/customXml" Target="../customXml/item41.xml"/><Relationship Id="rId54" Type="http://schemas.openxmlformats.org/officeDocument/2006/relationships/slide" Target="slides/slide9.xml"/><Relationship Id="rId62" Type="http://schemas.openxmlformats.org/officeDocument/2006/relationships/slide" Target="slides/slide17.xml"/><Relationship Id="rId70" Type="http://schemas.openxmlformats.org/officeDocument/2006/relationships/slide" Target="slides/slide25.xml"/><Relationship Id="rId75" Type="http://schemas.openxmlformats.org/officeDocument/2006/relationships/slide" Target="slides/slide30.xml"/><Relationship Id="rId83" Type="http://schemas.openxmlformats.org/officeDocument/2006/relationships/notesMaster" Target="notesMasters/notesMaster1.xml"/><Relationship Id="rId88" Type="http://schemas.openxmlformats.org/officeDocument/2006/relationships/theme" Target="theme/theme1.xml"/><Relationship Id="rId91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5" Type="http://schemas.openxmlformats.org/officeDocument/2006/relationships/customXml" Target="../customXml/item15.xml"/><Relationship Id="rId23" Type="http://schemas.openxmlformats.org/officeDocument/2006/relationships/customXml" Target="../customXml/item23.xml"/><Relationship Id="rId28" Type="http://schemas.openxmlformats.org/officeDocument/2006/relationships/customXml" Target="../customXml/item28.xml"/><Relationship Id="rId36" Type="http://schemas.openxmlformats.org/officeDocument/2006/relationships/customXml" Target="../customXml/item36.xml"/><Relationship Id="rId49" Type="http://schemas.openxmlformats.org/officeDocument/2006/relationships/slide" Target="slides/slide4.xml"/><Relationship Id="rId57" Type="http://schemas.openxmlformats.org/officeDocument/2006/relationships/slide" Target="slides/slide12.xml"/><Relationship Id="rId10" Type="http://schemas.openxmlformats.org/officeDocument/2006/relationships/customXml" Target="../customXml/item10.xml"/><Relationship Id="rId31" Type="http://schemas.openxmlformats.org/officeDocument/2006/relationships/customXml" Target="../customXml/item31.xml"/><Relationship Id="rId44" Type="http://schemas.openxmlformats.org/officeDocument/2006/relationships/slideMaster" Target="slideMasters/slideMaster2.xml"/><Relationship Id="rId52" Type="http://schemas.openxmlformats.org/officeDocument/2006/relationships/slide" Target="slides/slide7.xml"/><Relationship Id="rId60" Type="http://schemas.openxmlformats.org/officeDocument/2006/relationships/slide" Target="slides/slide15.xml"/><Relationship Id="rId65" Type="http://schemas.openxmlformats.org/officeDocument/2006/relationships/slide" Target="slides/slide20.xml"/><Relationship Id="rId73" Type="http://schemas.openxmlformats.org/officeDocument/2006/relationships/slide" Target="slides/slide28.xml"/><Relationship Id="rId78" Type="http://schemas.openxmlformats.org/officeDocument/2006/relationships/slide" Target="slides/slide33.xml"/><Relationship Id="rId81" Type="http://schemas.openxmlformats.org/officeDocument/2006/relationships/slide" Target="slides/slide36.xml"/><Relationship Id="rId86" Type="http://schemas.openxmlformats.org/officeDocument/2006/relationships/presProps" Target="presProps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39" Type="http://schemas.openxmlformats.org/officeDocument/2006/relationships/customXml" Target="../customXml/item39.xml"/><Relationship Id="rId34" Type="http://schemas.openxmlformats.org/officeDocument/2006/relationships/customXml" Target="../customXml/item34.xml"/><Relationship Id="rId50" Type="http://schemas.openxmlformats.org/officeDocument/2006/relationships/slide" Target="slides/slide5.xml"/><Relationship Id="rId55" Type="http://schemas.openxmlformats.org/officeDocument/2006/relationships/slide" Target="slides/slide10.xml"/><Relationship Id="rId76" Type="http://schemas.openxmlformats.org/officeDocument/2006/relationships/slide" Target="slides/slide31.xml"/><Relationship Id="rId7" Type="http://schemas.openxmlformats.org/officeDocument/2006/relationships/customXml" Target="../customXml/item7.xml"/><Relationship Id="rId71" Type="http://schemas.openxmlformats.org/officeDocument/2006/relationships/slide" Target="slides/slide26.xml"/><Relationship Id="rId92" Type="http://schemas.microsoft.com/office/2018/10/relationships/authors" Target="authors.xml"/><Relationship Id="rId2" Type="http://schemas.openxmlformats.org/officeDocument/2006/relationships/customXml" Target="../customXml/item2.xml"/><Relationship Id="rId29" Type="http://schemas.openxmlformats.org/officeDocument/2006/relationships/customXml" Target="../customXml/item29.xml"/><Relationship Id="rId24" Type="http://schemas.openxmlformats.org/officeDocument/2006/relationships/customXml" Target="../customXml/item24.xml"/><Relationship Id="rId40" Type="http://schemas.openxmlformats.org/officeDocument/2006/relationships/customXml" Target="../customXml/item40.xml"/><Relationship Id="rId45" Type="http://schemas.openxmlformats.org/officeDocument/2006/relationships/slideMaster" Target="slideMasters/slideMaster3.xml"/><Relationship Id="rId66" Type="http://schemas.openxmlformats.org/officeDocument/2006/relationships/slide" Target="slides/slide21.xml"/><Relationship Id="rId87" Type="http://schemas.openxmlformats.org/officeDocument/2006/relationships/viewProps" Target="viewProps.xml"/><Relationship Id="rId61" Type="http://schemas.openxmlformats.org/officeDocument/2006/relationships/slide" Target="slides/slide16.xml"/><Relationship Id="rId82" Type="http://schemas.openxmlformats.org/officeDocument/2006/relationships/slide" Target="slides/slide37.xml"/><Relationship Id="rId19" Type="http://schemas.openxmlformats.org/officeDocument/2006/relationships/customXml" Target="../customXml/item19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ytlíček Zdeněk" userId="S::zdenek.pytlicek@gasnet.cz::f1b96d20-667b-444a-b19d-4ff707ea1486" providerId="AD" clId="Web-{42F6569B-9D1F-42F0-6695-877224F23F32}"/>
    <pc:docChg chg="modSld">
      <pc:chgData name="Pytlíček Zdeněk" userId="S::zdenek.pytlicek@gasnet.cz::f1b96d20-667b-444a-b19d-4ff707ea1486" providerId="AD" clId="Web-{42F6569B-9D1F-42F0-6695-877224F23F32}" dt="2024-09-19T06:40:16.241" v="16" actId="20577"/>
      <pc:docMkLst>
        <pc:docMk/>
      </pc:docMkLst>
      <pc:sldChg chg="modSp">
        <pc:chgData name="Pytlíček Zdeněk" userId="S::zdenek.pytlicek@gasnet.cz::f1b96d20-667b-444a-b19d-4ff707ea1486" providerId="AD" clId="Web-{42F6569B-9D1F-42F0-6695-877224F23F32}" dt="2024-09-19T06:40:16.241" v="16" actId="20577"/>
        <pc:sldMkLst>
          <pc:docMk/>
          <pc:sldMk cId="2151969125" sldId="2147483604"/>
        </pc:sldMkLst>
        <pc:spChg chg="mod">
          <ac:chgData name="Pytlíček Zdeněk" userId="S::zdenek.pytlicek@gasnet.cz::f1b96d20-667b-444a-b19d-4ff707ea1486" providerId="AD" clId="Web-{42F6569B-9D1F-42F0-6695-877224F23F32}" dt="2024-09-19T06:40:16.241" v="16" actId="20577"/>
          <ac:spMkLst>
            <pc:docMk/>
            <pc:sldMk cId="2151969125" sldId="2147483604"/>
            <ac:spMk id="24" creationId="{00000000-0000-0000-0000-000000000000}"/>
          </ac:spMkLst>
        </pc:spChg>
      </pc:sldChg>
    </pc:docChg>
  </pc:docChgLst>
  <pc:docChgLst>
    <pc:chgData name="Kolafová Martina" userId="S::martina.kolafova@gasnet.cz::e6d1e1d4-c53d-46a7-bc4b-94abe340970e" providerId="AD" clId="Web-{27847D70-376C-4CF5-8785-94C43964142F}"/>
    <pc:docChg chg="mod modSld sldOrd">
      <pc:chgData name="Kolafová Martina" userId="S::martina.kolafova@gasnet.cz::e6d1e1d4-c53d-46a7-bc4b-94abe340970e" providerId="AD" clId="Web-{27847D70-376C-4CF5-8785-94C43964142F}" dt="2024-09-19T06:05:25.858" v="10"/>
      <pc:docMkLst>
        <pc:docMk/>
      </pc:docMkLst>
      <pc:sldChg chg="ord">
        <pc:chgData name="Kolafová Martina" userId="S::martina.kolafova@gasnet.cz::e6d1e1d4-c53d-46a7-bc4b-94abe340970e" providerId="AD" clId="Web-{27847D70-376C-4CF5-8785-94C43964142F}" dt="2024-09-19T06:05:25.858" v="10"/>
        <pc:sldMkLst>
          <pc:docMk/>
          <pc:sldMk cId="3958166420" sldId="2147483587"/>
        </pc:sldMkLst>
      </pc:sldChg>
      <pc:sldChg chg="modSp">
        <pc:chgData name="Kolafová Martina" userId="S::martina.kolafova@gasnet.cz::e6d1e1d4-c53d-46a7-bc4b-94abe340970e" providerId="AD" clId="Web-{27847D70-376C-4CF5-8785-94C43964142F}" dt="2024-09-19T05:52:38.135" v="9" actId="20577"/>
        <pc:sldMkLst>
          <pc:docMk/>
          <pc:sldMk cId="3269850412" sldId="2147483597"/>
        </pc:sldMkLst>
        <pc:spChg chg="mod">
          <ac:chgData name="Kolafová Martina" userId="S::martina.kolafova@gasnet.cz::e6d1e1d4-c53d-46a7-bc4b-94abe340970e" providerId="AD" clId="Web-{27847D70-376C-4CF5-8785-94C43964142F}" dt="2024-09-19T05:52:38.135" v="9" actId="20577"/>
          <ac:spMkLst>
            <pc:docMk/>
            <pc:sldMk cId="3269850412" sldId="2147483597"/>
            <ac:spMk id="6" creationId="{ED73500A-1872-D8A8-C9DC-32DF67272440}"/>
          </ac:spMkLst>
        </pc:spChg>
      </pc:sldChg>
    </pc:docChg>
  </pc:docChgLst>
  <pc:docChgLst>
    <pc:chgData name="Pytlíček Zdeněk" userId="S::zdenek.pytlicek@gasnet.cz::f1b96d20-667b-444a-b19d-4ff707ea1486" providerId="AD" clId="Web-{3E743A62-BA5C-16B2-DDCA-3A449D21643F}"/>
    <pc:docChg chg="mod modSld">
      <pc:chgData name="Pytlíček Zdeněk" userId="S::zdenek.pytlicek@gasnet.cz::f1b96d20-667b-444a-b19d-4ff707ea1486" providerId="AD" clId="Web-{3E743A62-BA5C-16B2-DDCA-3A449D21643F}" dt="2024-09-19T06:38:54.158" v="10" actId="20577"/>
      <pc:docMkLst>
        <pc:docMk/>
      </pc:docMkLst>
      <pc:sldChg chg="modSp">
        <pc:chgData name="Pytlíček Zdeněk" userId="S::zdenek.pytlicek@gasnet.cz::f1b96d20-667b-444a-b19d-4ff707ea1486" providerId="AD" clId="Web-{3E743A62-BA5C-16B2-DDCA-3A449D21643F}" dt="2024-09-19T06:38:54.158" v="10" actId="20577"/>
        <pc:sldMkLst>
          <pc:docMk/>
          <pc:sldMk cId="3269850412" sldId="2147483597"/>
        </pc:sldMkLst>
        <pc:spChg chg="mod">
          <ac:chgData name="Pytlíček Zdeněk" userId="S::zdenek.pytlicek@gasnet.cz::f1b96d20-667b-444a-b19d-4ff707ea1486" providerId="AD" clId="Web-{3E743A62-BA5C-16B2-DDCA-3A449D21643F}" dt="2024-09-19T06:38:54.158" v="10" actId="20577"/>
          <ac:spMkLst>
            <pc:docMk/>
            <pc:sldMk cId="3269850412" sldId="2147483597"/>
            <ac:spMk id="6" creationId="{ED73500A-1872-D8A8-C9DC-32DF67272440}"/>
          </ac:spMkLst>
        </pc:spChg>
      </pc:sldChg>
    </pc:docChg>
  </pc:docChgLst>
  <pc:docChgLst>
    <pc:chgData name="Pytlíček Zdeněk" userId="f1b96d20-667b-444a-b19d-4ff707ea1486" providerId="ADAL" clId="{4B050CFC-5B60-4CB0-90C1-6B3AA2BC9A6B}"/>
    <pc:docChg chg="undo custSel addSld delSld modSld sldOrd modSection">
      <pc:chgData name="Pytlíček Zdeněk" userId="f1b96d20-667b-444a-b19d-4ff707ea1486" providerId="ADAL" clId="{4B050CFC-5B60-4CB0-90C1-6B3AA2BC9A6B}" dt="2024-09-24T06:39:43.300" v="2356" actId="1035"/>
      <pc:docMkLst>
        <pc:docMk/>
      </pc:docMkLst>
      <pc:sldChg chg="addSp delSp modSp mod ord">
        <pc:chgData name="Pytlíček Zdeněk" userId="f1b96d20-667b-444a-b19d-4ff707ea1486" providerId="ADAL" clId="{4B050CFC-5B60-4CB0-90C1-6B3AA2BC9A6B}" dt="2024-09-16T10:55:06.370" v="426" actId="478"/>
        <pc:sldMkLst>
          <pc:docMk/>
          <pc:sldMk cId="3344763412" sldId="266"/>
        </pc:sldMkLst>
        <pc:spChg chg="del">
          <ac:chgData name="Pytlíček Zdeněk" userId="f1b96d20-667b-444a-b19d-4ff707ea1486" providerId="ADAL" clId="{4B050CFC-5B60-4CB0-90C1-6B3AA2BC9A6B}" dt="2024-09-16T10:55:01.692" v="425" actId="478"/>
          <ac:spMkLst>
            <pc:docMk/>
            <pc:sldMk cId="3344763412" sldId="266"/>
            <ac:spMk id="4" creationId="{AFD02AE4-93F2-4B48-992F-B52C1303D96F}"/>
          </ac:spMkLst>
        </pc:spChg>
        <pc:spChg chg="add del mod">
          <ac:chgData name="Pytlíček Zdeněk" userId="f1b96d20-667b-444a-b19d-4ff707ea1486" providerId="ADAL" clId="{4B050CFC-5B60-4CB0-90C1-6B3AA2BC9A6B}" dt="2024-09-16T10:55:06.370" v="426" actId="478"/>
          <ac:spMkLst>
            <pc:docMk/>
            <pc:sldMk cId="3344763412" sldId="266"/>
            <ac:spMk id="6" creationId="{DE5C46C3-6A4B-33BA-C564-AC60D35DFBE4}"/>
          </ac:spMkLst>
        </pc:spChg>
      </pc:sldChg>
      <pc:sldChg chg="del">
        <pc:chgData name="Pytlíček Zdeněk" userId="f1b96d20-667b-444a-b19d-4ff707ea1486" providerId="ADAL" clId="{4B050CFC-5B60-4CB0-90C1-6B3AA2BC9A6B}" dt="2024-09-16T11:15:44.340" v="598" actId="47"/>
        <pc:sldMkLst>
          <pc:docMk/>
          <pc:sldMk cId="2937279766" sldId="321"/>
        </pc:sldMkLst>
      </pc:sldChg>
      <pc:sldChg chg="modSp mod">
        <pc:chgData name="Pytlíček Zdeněk" userId="f1b96d20-667b-444a-b19d-4ff707ea1486" providerId="ADAL" clId="{4B050CFC-5B60-4CB0-90C1-6B3AA2BC9A6B}" dt="2024-09-17T09:54:32.665" v="1161" actId="14100"/>
        <pc:sldMkLst>
          <pc:docMk/>
          <pc:sldMk cId="2696343870" sldId="327"/>
        </pc:sldMkLst>
        <pc:spChg chg="mod">
          <ac:chgData name="Pytlíček Zdeněk" userId="f1b96d20-667b-444a-b19d-4ff707ea1486" providerId="ADAL" clId="{4B050CFC-5B60-4CB0-90C1-6B3AA2BC9A6B}" dt="2024-09-17T09:54:32.665" v="1161" actId="14100"/>
          <ac:spMkLst>
            <pc:docMk/>
            <pc:sldMk cId="2696343870" sldId="327"/>
            <ac:spMk id="2" creationId="{A00807DE-2298-4F67-9C91-B4F946C34775}"/>
          </ac:spMkLst>
        </pc:spChg>
        <pc:spChg chg="mod">
          <ac:chgData name="Pytlíček Zdeněk" userId="f1b96d20-667b-444a-b19d-4ff707ea1486" providerId="ADAL" clId="{4B050CFC-5B60-4CB0-90C1-6B3AA2BC9A6B}" dt="2024-09-16T10:08:39.258" v="54" actId="1035"/>
          <ac:spMkLst>
            <pc:docMk/>
            <pc:sldMk cId="2696343870" sldId="327"/>
            <ac:spMk id="3" creationId="{29A8FAFA-0682-4493-82F7-AFB5CD5272DF}"/>
          </ac:spMkLst>
        </pc:spChg>
      </pc:sldChg>
      <pc:sldChg chg="delSp modSp mod">
        <pc:chgData name="Pytlíček Zdeněk" userId="f1b96d20-667b-444a-b19d-4ff707ea1486" providerId="ADAL" clId="{4B050CFC-5B60-4CB0-90C1-6B3AA2BC9A6B}" dt="2024-09-16T11:15:39.884" v="597" actId="6549"/>
        <pc:sldMkLst>
          <pc:docMk/>
          <pc:sldMk cId="1973265849" sldId="331"/>
        </pc:sldMkLst>
        <pc:spChg chg="mod">
          <ac:chgData name="Pytlíček Zdeněk" userId="f1b96d20-667b-444a-b19d-4ff707ea1486" providerId="ADAL" clId="{4B050CFC-5B60-4CB0-90C1-6B3AA2BC9A6B}" dt="2024-09-16T11:15:39.884" v="597" actId="6549"/>
          <ac:spMkLst>
            <pc:docMk/>
            <pc:sldMk cId="1973265849" sldId="331"/>
            <ac:spMk id="2" creationId="{B2740C19-A69C-4C68-96C5-E1B990307A22}"/>
          </ac:spMkLst>
        </pc:spChg>
        <pc:spChg chg="del">
          <ac:chgData name="Pytlíček Zdeněk" userId="f1b96d20-667b-444a-b19d-4ff707ea1486" providerId="ADAL" clId="{4B050CFC-5B60-4CB0-90C1-6B3AA2BC9A6B}" dt="2024-09-16T11:15:34.819" v="593" actId="478"/>
          <ac:spMkLst>
            <pc:docMk/>
            <pc:sldMk cId="1973265849" sldId="331"/>
            <ac:spMk id="3" creationId="{D1AD25B5-0C0B-4D1A-B3F8-386E13ECDE4D}"/>
          </ac:spMkLst>
        </pc:spChg>
      </pc:sldChg>
      <pc:sldChg chg="del">
        <pc:chgData name="Pytlíček Zdeněk" userId="f1b96d20-667b-444a-b19d-4ff707ea1486" providerId="ADAL" clId="{4B050CFC-5B60-4CB0-90C1-6B3AA2BC9A6B}" dt="2024-09-16T10:43:37.142" v="326" actId="47"/>
        <pc:sldMkLst>
          <pc:docMk/>
          <pc:sldMk cId="1831764114" sldId="340"/>
        </pc:sldMkLst>
      </pc:sldChg>
      <pc:sldChg chg="modSp mod">
        <pc:chgData name="Pytlíček Zdeněk" userId="f1b96d20-667b-444a-b19d-4ff707ea1486" providerId="ADAL" clId="{4B050CFC-5B60-4CB0-90C1-6B3AA2BC9A6B}" dt="2024-09-17T09:58:05.253" v="1172" actId="1076"/>
        <pc:sldMkLst>
          <pc:docMk/>
          <pc:sldMk cId="1483030862" sldId="341"/>
        </pc:sldMkLst>
        <pc:spChg chg="mod">
          <ac:chgData name="Pytlíček Zdeněk" userId="f1b96d20-667b-444a-b19d-4ff707ea1486" providerId="ADAL" clId="{4B050CFC-5B60-4CB0-90C1-6B3AA2BC9A6B}" dt="2024-09-17T09:58:05.253" v="1172" actId="1076"/>
          <ac:spMkLst>
            <pc:docMk/>
            <pc:sldMk cId="1483030862" sldId="341"/>
            <ac:spMk id="14" creationId="{D8722A74-A0DE-4512-89AF-1EB84A7E58EF}"/>
          </ac:spMkLst>
        </pc:spChg>
      </pc:sldChg>
      <pc:sldChg chg="addSp delSp modSp mod ord">
        <pc:chgData name="Pytlíček Zdeněk" userId="f1b96d20-667b-444a-b19d-4ff707ea1486" providerId="ADAL" clId="{4B050CFC-5B60-4CB0-90C1-6B3AA2BC9A6B}" dt="2024-09-16T10:14:19.226" v="98"/>
        <pc:sldMkLst>
          <pc:docMk/>
          <pc:sldMk cId="2857614490" sldId="348"/>
        </pc:sldMkLst>
        <pc:spChg chg="del">
          <ac:chgData name="Pytlíček Zdeněk" userId="f1b96d20-667b-444a-b19d-4ff707ea1486" providerId="ADAL" clId="{4B050CFC-5B60-4CB0-90C1-6B3AA2BC9A6B}" dt="2024-09-16T10:13:39.163" v="92" actId="478"/>
          <ac:spMkLst>
            <pc:docMk/>
            <pc:sldMk cId="2857614490" sldId="348"/>
            <ac:spMk id="6" creationId="{7C4E4BB0-05E4-48F2-827B-2DFA2B19E86E}"/>
          </ac:spMkLst>
        </pc:spChg>
        <pc:spChg chg="add del mod">
          <ac:chgData name="Pytlíček Zdeněk" userId="f1b96d20-667b-444a-b19d-4ff707ea1486" providerId="ADAL" clId="{4B050CFC-5B60-4CB0-90C1-6B3AA2BC9A6B}" dt="2024-09-16T10:14:19.226" v="98"/>
          <ac:spMkLst>
            <pc:docMk/>
            <pc:sldMk cId="2857614490" sldId="348"/>
            <ac:spMk id="7" creationId="{19375461-B6E7-A1AC-3329-E79B44DA5697}"/>
          </ac:spMkLst>
        </pc:spChg>
        <pc:grpChg chg="del">
          <ac:chgData name="Pytlíček Zdeněk" userId="f1b96d20-667b-444a-b19d-4ff707ea1486" providerId="ADAL" clId="{4B050CFC-5B60-4CB0-90C1-6B3AA2BC9A6B}" dt="2024-09-16T10:13:35.119" v="91" actId="478"/>
          <ac:grpSpMkLst>
            <pc:docMk/>
            <pc:sldMk cId="2857614490" sldId="348"/>
            <ac:grpSpMk id="2" creationId="{3643281B-F4FC-FD11-AC82-5D7B1442B214}"/>
          </ac:grpSpMkLst>
        </pc:grpChg>
        <pc:graphicFrameChg chg="del">
          <ac:chgData name="Pytlíček Zdeněk" userId="f1b96d20-667b-444a-b19d-4ff707ea1486" providerId="ADAL" clId="{4B050CFC-5B60-4CB0-90C1-6B3AA2BC9A6B}" dt="2024-09-16T10:13:32.064" v="90" actId="478"/>
          <ac:graphicFrameMkLst>
            <pc:docMk/>
            <pc:sldMk cId="2857614490" sldId="348"/>
            <ac:graphicFrameMk id="9" creationId="{3BB1FA20-942C-29A3-6579-50051381A5B7}"/>
          </ac:graphicFrameMkLst>
        </pc:graphicFrameChg>
        <pc:picChg chg="add mod">
          <ac:chgData name="Pytlíček Zdeněk" userId="f1b96d20-667b-444a-b19d-4ff707ea1486" providerId="ADAL" clId="{4B050CFC-5B60-4CB0-90C1-6B3AA2BC9A6B}" dt="2024-09-16T10:13:42.953" v="94"/>
          <ac:picMkLst>
            <pc:docMk/>
            <pc:sldMk cId="2857614490" sldId="348"/>
            <ac:picMk id="8" creationId="{9D71CFB8-9314-4CD8-0C2A-48188F67EFED}"/>
          </ac:picMkLst>
        </pc:picChg>
        <pc:picChg chg="add mod">
          <ac:chgData name="Pytlíček Zdeněk" userId="f1b96d20-667b-444a-b19d-4ff707ea1486" providerId="ADAL" clId="{4B050CFC-5B60-4CB0-90C1-6B3AA2BC9A6B}" dt="2024-09-16T10:13:42.953" v="94"/>
          <ac:picMkLst>
            <pc:docMk/>
            <pc:sldMk cId="2857614490" sldId="348"/>
            <ac:picMk id="10" creationId="{463BB034-E505-28D9-7853-3B3B66AB1BFF}"/>
          </ac:picMkLst>
        </pc:picChg>
        <pc:picChg chg="add mod">
          <ac:chgData name="Pytlíček Zdeněk" userId="f1b96d20-667b-444a-b19d-4ff707ea1486" providerId="ADAL" clId="{4B050CFC-5B60-4CB0-90C1-6B3AA2BC9A6B}" dt="2024-09-16T10:13:42.953" v="94"/>
          <ac:picMkLst>
            <pc:docMk/>
            <pc:sldMk cId="2857614490" sldId="348"/>
            <ac:picMk id="11" creationId="{86B6A362-2A78-079D-2BAB-999B4A1848C3}"/>
          </ac:picMkLst>
        </pc:picChg>
        <pc:picChg chg="add mod">
          <ac:chgData name="Pytlíček Zdeněk" userId="f1b96d20-667b-444a-b19d-4ff707ea1486" providerId="ADAL" clId="{4B050CFC-5B60-4CB0-90C1-6B3AA2BC9A6B}" dt="2024-09-16T10:14:01.440" v="96"/>
          <ac:picMkLst>
            <pc:docMk/>
            <pc:sldMk cId="2857614490" sldId="348"/>
            <ac:picMk id="12" creationId="{65776F93-4637-A88F-2B9B-9B0063024785}"/>
          </ac:picMkLst>
        </pc:picChg>
        <pc:picChg chg="add mod">
          <ac:chgData name="Pytlíček Zdeněk" userId="f1b96d20-667b-444a-b19d-4ff707ea1486" providerId="ADAL" clId="{4B050CFC-5B60-4CB0-90C1-6B3AA2BC9A6B}" dt="2024-09-16T10:14:01.440" v="96"/>
          <ac:picMkLst>
            <pc:docMk/>
            <pc:sldMk cId="2857614490" sldId="348"/>
            <ac:picMk id="13" creationId="{DD1A825B-24B8-F0B0-1ABA-60A252BBB17B}"/>
          </ac:picMkLst>
        </pc:picChg>
        <pc:picChg chg="add mod">
          <ac:chgData name="Pytlíček Zdeněk" userId="f1b96d20-667b-444a-b19d-4ff707ea1486" providerId="ADAL" clId="{4B050CFC-5B60-4CB0-90C1-6B3AA2BC9A6B}" dt="2024-09-16T10:14:01.440" v="96"/>
          <ac:picMkLst>
            <pc:docMk/>
            <pc:sldMk cId="2857614490" sldId="348"/>
            <ac:picMk id="14" creationId="{31E47E04-5072-CB69-F69C-447D3B2A1AD3}"/>
          </ac:picMkLst>
        </pc:picChg>
      </pc:sldChg>
      <pc:sldChg chg="addSp delSp modSp del mod">
        <pc:chgData name="Pytlíček Zdeněk" userId="f1b96d20-667b-444a-b19d-4ff707ea1486" providerId="ADAL" clId="{4B050CFC-5B60-4CB0-90C1-6B3AA2BC9A6B}" dt="2024-09-16T10:13:15.329" v="86" actId="47"/>
        <pc:sldMkLst>
          <pc:docMk/>
          <pc:sldMk cId="2494838961" sldId="352"/>
        </pc:sldMkLst>
        <pc:spChg chg="add mod">
          <ac:chgData name="Pytlíček Zdeněk" userId="f1b96d20-667b-444a-b19d-4ff707ea1486" providerId="ADAL" clId="{4B050CFC-5B60-4CB0-90C1-6B3AA2BC9A6B}" dt="2024-09-16T10:10:13.139" v="63" actId="14100"/>
          <ac:spMkLst>
            <pc:docMk/>
            <pc:sldMk cId="2494838961" sldId="352"/>
            <ac:spMk id="5" creationId="{566C19DF-C76E-646E-5D58-4C65DEE998CA}"/>
          </ac:spMkLst>
        </pc:spChg>
        <pc:spChg chg="add del">
          <ac:chgData name="Pytlíček Zdeněk" userId="f1b96d20-667b-444a-b19d-4ff707ea1486" providerId="ADAL" clId="{4B050CFC-5B60-4CB0-90C1-6B3AA2BC9A6B}" dt="2024-09-16T10:11:11.872" v="75" actId="478"/>
          <ac:spMkLst>
            <pc:docMk/>
            <pc:sldMk cId="2494838961" sldId="352"/>
            <ac:spMk id="6" creationId="{7E8FCC90-745A-442F-9BBC-6DE6321C5380}"/>
          </ac:spMkLst>
        </pc:spChg>
        <pc:spChg chg="add del">
          <ac:chgData name="Pytlíček Zdeněk" userId="f1b96d20-667b-444a-b19d-4ff707ea1486" providerId="ADAL" clId="{4B050CFC-5B60-4CB0-90C1-6B3AA2BC9A6B}" dt="2024-09-16T10:11:15.471" v="77" actId="478"/>
          <ac:spMkLst>
            <pc:docMk/>
            <pc:sldMk cId="2494838961" sldId="352"/>
            <ac:spMk id="7" creationId="{26CA1059-BB2C-443F-8E5A-318BF23397EB}"/>
          </ac:spMkLst>
        </pc:spChg>
        <pc:spChg chg="add del mod">
          <ac:chgData name="Pytlíček Zdeněk" userId="f1b96d20-667b-444a-b19d-4ff707ea1486" providerId="ADAL" clId="{4B050CFC-5B60-4CB0-90C1-6B3AA2BC9A6B}" dt="2024-09-16T10:10:16.082" v="67" actId="478"/>
          <ac:spMkLst>
            <pc:docMk/>
            <pc:sldMk cId="2494838961" sldId="352"/>
            <ac:spMk id="12" creationId="{E26C6CD7-02A6-48A7-45E9-BFC6B3172986}"/>
          </ac:spMkLst>
        </pc:spChg>
        <pc:spChg chg="add del mod">
          <ac:chgData name="Pytlíček Zdeněk" userId="f1b96d20-667b-444a-b19d-4ff707ea1486" providerId="ADAL" clId="{4B050CFC-5B60-4CB0-90C1-6B3AA2BC9A6B}" dt="2024-09-16T10:10:14.804" v="65" actId="478"/>
          <ac:spMkLst>
            <pc:docMk/>
            <pc:sldMk cId="2494838961" sldId="352"/>
            <ac:spMk id="15" creationId="{E71C926D-13F5-FB60-BE50-2212A7A7097C}"/>
          </ac:spMkLst>
        </pc:spChg>
        <pc:spChg chg="add mod">
          <ac:chgData name="Pytlíček Zdeněk" userId="f1b96d20-667b-444a-b19d-4ff707ea1486" providerId="ADAL" clId="{4B050CFC-5B60-4CB0-90C1-6B3AA2BC9A6B}" dt="2024-09-16T10:10:28.667" v="70" actId="478"/>
          <ac:spMkLst>
            <pc:docMk/>
            <pc:sldMk cId="2494838961" sldId="352"/>
            <ac:spMk id="16" creationId="{D5ECD723-6708-43B4-D9A6-8F8774AF187A}"/>
          </ac:spMkLst>
        </pc:spChg>
        <pc:spChg chg="add del mod">
          <ac:chgData name="Pytlíček Zdeněk" userId="f1b96d20-667b-444a-b19d-4ff707ea1486" providerId="ADAL" clId="{4B050CFC-5B60-4CB0-90C1-6B3AA2BC9A6B}" dt="2024-09-16T10:11:51.973" v="84" actId="478"/>
          <ac:spMkLst>
            <pc:docMk/>
            <pc:sldMk cId="2494838961" sldId="352"/>
            <ac:spMk id="17" creationId="{C09C2FF0-461D-4F0F-6B66-90C239D2DDD8}"/>
          </ac:spMkLst>
        </pc:spChg>
        <pc:spChg chg="add del mod">
          <ac:chgData name="Pytlíček Zdeněk" userId="f1b96d20-667b-444a-b19d-4ff707ea1486" providerId="ADAL" clId="{4B050CFC-5B60-4CB0-90C1-6B3AA2BC9A6B}" dt="2024-09-16T10:11:12.989" v="76" actId="478"/>
          <ac:spMkLst>
            <pc:docMk/>
            <pc:sldMk cId="2494838961" sldId="352"/>
            <ac:spMk id="19" creationId="{1BF46438-4560-C3F5-25F4-19084901E5A9}"/>
          </ac:spMkLst>
        </pc:spChg>
        <pc:spChg chg="add del mod">
          <ac:chgData name="Pytlíček Zdeněk" userId="f1b96d20-667b-444a-b19d-4ff707ea1486" providerId="ADAL" clId="{4B050CFC-5B60-4CB0-90C1-6B3AA2BC9A6B}" dt="2024-09-16T10:11:17.788" v="78" actId="478"/>
          <ac:spMkLst>
            <pc:docMk/>
            <pc:sldMk cId="2494838961" sldId="352"/>
            <ac:spMk id="21" creationId="{CA3EEAD9-3D3C-53E2-2057-1002AF63B0A1}"/>
          </ac:spMkLst>
        </pc:spChg>
        <pc:picChg chg="add del">
          <ac:chgData name="Pytlíček Zdeněk" userId="f1b96d20-667b-444a-b19d-4ff707ea1486" providerId="ADAL" clId="{4B050CFC-5B60-4CB0-90C1-6B3AA2BC9A6B}" dt="2024-09-16T10:11:05.233" v="74" actId="21"/>
          <ac:picMkLst>
            <pc:docMk/>
            <pc:sldMk cId="2494838961" sldId="352"/>
            <ac:picMk id="9" creationId="{E9D53EC5-2502-2249-3974-D65AC07627BB}"/>
          </ac:picMkLst>
        </pc:picChg>
        <pc:picChg chg="add del mod">
          <ac:chgData name="Pytlíček Zdeněk" userId="f1b96d20-667b-444a-b19d-4ff707ea1486" providerId="ADAL" clId="{4B050CFC-5B60-4CB0-90C1-6B3AA2BC9A6B}" dt="2024-09-16T10:11:31.346" v="82" actId="14100"/>
          <ac:picMkLst>
            <pc:docMk/>
            <pc:sldMk cId="2494838961" sldId="352"/>
            <ac:picMk id="10" creationId="{BD736524-F9A2-8541-B924-B13791B4974A}"/>
          </ac:picMkLst>
        </pc:picChg>
      </pc:sldChg>
      <pc:sldChg chg="modSp del setBg">
        <pc:chgData name="Pytlíček Zdeněk" userId="f1b96d20-667b-444a-b19d-4ff707ea1486" providerId="ADAL" clId="{4B050CFC-5B60-4CB0-90C1-6B3AA2BC9A6B}" dt="2024-09-16T11:00:06.784" v="445" actId="47"/>
        <pc:sldMkLst>
          <pc:docMk/>
          <pc:sldMk cId="3560701862" sldId="353"/>
        </pc:sldMkLst>
        <pc:spChg chg="mod">
          <ac:chgData name="Pytlíček Zdeněk" userId="f1b96d20-667b-444a-b19d-4ff707ea1486" providerId="ADAL" clId="{4B050CFC-5B60-4CB0-90C1-6B3AA2BC9A6B}" dt="2024-09-16T10:57:52.351" v="437"/>
          <ac:spMkLst>
            <pc:docMk/>
            <pc:sldMk cId="3560701862" sldId="353"/>
            <ac:spMk id="3" creationId="{097FFE42-C499-488A-8491-045D74F05CF0}"/>
          </ac:spMkLst>
        </pc:spChg>
        <pc:spChg chg="mod">
          <ac:chgData name="Pytlíček Zdeněk" userId="f1b96d20-667b-444a-b19d-4ff707ea1486" providerId="ADAL" clId="{4B050CFC-5B60-4CB0-90C1-6B3AA2BC9A6B}" dt="2024-09-16T10:57:52.351" v="437"/>
          <ac:spMkLst>
            <pc:docMk/>
            <pc:sldMk cId="3560701862" sldId="353"/>
            <ac:spMk id="4" creationId="{F4F7EB0C-F15C-40F1-A56C-FBF0B4F581C4}"/>
          </ac:spMkLst>
        </pc:spChg>
        <pc:spChg chg="mod">
          <ac:chgData name="Pytlíček Zdeněk" userId="f1b96d20-667b-444a-b19d-4ff707ea1486" providerId="ADAL" clId="{4B050CFC-5B60-4CB0-90C1-6B3AA2BC9A6B}" dt="2024-09-16T10:57:52.351" v="437"/>
          <ac:spMkLst>
            <pc:docMk/>
            <pc:sldMk cId="3560701862" sldId="353"/>
            <ac:spMk id="6" creationId="{CBCFD0B2-2A99-4686-88C2-F300AD3EA64E}"/>
          </ac:spMkLst>
        </pc:spChg>
      </pc:sldChg>
      <pc:sldChg chg="addSp delSp modSp mod ord">
        <pc:chgData name="Pytlíček Zdeněk" userId="f1b96d20-667b-444a-b19d-4ff707ea1486" providerId="ADAL" clId="{4B050CFC-5B60-4CB0-90C1-6B3AA2BC9A6B}" dt="2024-09-17T07:06:38.905" v="842" actId="6549"/>
        <pc:sldMkLst>
          <pc:docMk/>
          <pc:sldMk cId="3600418467" sldId="355"/>
        </pc:sldMkLst>
        <pc:spChg chg="mod">
          <ac:chgData name="Pytlíček Zdeněk" userId="f1b96d20-667b-444a-b19d-4ff707ea1486" providerId="ADAL" clId="{4B050CFC-5B60-4CB0-90C1-6B3AA2BC9A6B}" dt="2024-09-16T10:21:43.609" v="224" actId="1037"/>
          <ac:spMkLst>
            <pc:docMk/>
            <pc:sldMk cId="3600418467" sldId="355"/>
            <ac:spMk id="2" creationId="{82F9C02E-6E50-426A-BD5A-84DF309B4E9D}"/>
          </ac:spMkLst>
        </pc:spChg>
        <pc:spChg chg="del mod">
          <ac:chgData name="Pytlíček Zdeněk" userId="f1b96d20-667b-444a-b19d-4ff707ea1486" providerId="ADAL" clId="{4B050CFC-5B60-4CB0-90C1-6B3AA2BC9A6B}" dt="2024-09-16T10:21:06.619" v="212" actId="478"/>
          <ac:spMkLst>
            <pc:docMk/>
            <pc:sldMk cId="3600418467" sldId="355"/>
            <ac:spMk id="4" creationId="{8FF13764-EB75-4EB0-B4EC-E454B1C7A204}"/>
          </ac:spMkLst>
        </pc:spChg>
        <pc:spChg chg="mod">
          <ac:chgData name="Pytlíček Zdeněk" userId="f1b96d20-667b-444a-b19d-4ff707ea1486" providerId="ADAL" clId="{4B050CFC-5B60-4CB0-90C1-6B3AA2BC9A6B}" dt="2024-09-17T07:06:38.905" v="842" actId="6549"/>
          <ac:spMkLst>
            <pc:docMk/>
            <pc:sldMk cId="3600418467" sldId="355"/>
            <ac:spMk id="5" creationId="{87E35A90-CA44-4E75-AEE4-A4F0AE97B002}"/>
          </ac:spMkLst>
        </pc:spChg>
        <pc:spChg chg="add del mod">
          <ac:chgData name="Pytlíček Zdeněk" userId="f1b96d20-667b-444a-b19d-4ff707ea1486" providerId="ADAL" clId="{4B050CFC-5B60-4CB0-90C1-6B3AA2BC9A6B}" dt="2024-09-16T10:21:08.595" v="213" actId="478"/>
          <ac:spMkLst>
            <pc:docMk/>
            <pc:sldMk cId="3600418467" sldId="355"/>
            <ac:spMk id="7" creationId="{3B99D778-385E-313F-28B0-9E5CEB48E804}"/>
          </ac:spMkLst>
        </pc:spChg>
        <pc:spChg chg="mod">
          <ac:chgData name="Pytlíček Zdeněk" userId="f1b96d20-667b-444a-b19d-4ff707ea1486" providerId="ADAL" clId="{4B050CFC-5B60-4CB0-90C1-6B3AA2BC9A6B}" dt="2024-09-16T10:18:54.471" v="189"/>
          <ac:spMkLst>
            <pc:docMk/>
            <pc:sldMk cId="3600418467" sldId="355"/>
            <ac:spMk id="8" creationId="{BB75BBAA-EDB1-4CB3-A906-FD28D7B2A040}"/>
          </ac:spMkLst>
        </pc:spChg>
        <pc:spChg chg="add mod">
          <ac:chgData name="Pytlíček Zdeněk" userId="f1b96d20-667b-444a-b19d-4ff707ea1486" providerId="ADAL" clId="{4B050CFC-5B60-4CB0-90C1-6B3AA2BC9A6B}" dt="2024-09-16T10:23:23.870" v="244" actId="114"/>
          <ac:spMkLst>
            <pc:docMk/>
            <pc:sldMk cId="3600418467" sldId="355"/>
            <ac:spMk id="9" creationId="{010907F1-75D5-3970-5CFF-FA2E5B4571B0}"/>
          </ac:spMkLst>
        </pc:spChg>
        <pc:picChg chg="del">
          <ac:chgData name="Pytlíček Zdeněk" userId="f1b96d20-667b-444a-b19d-4ff707ea1486" providerId="ADAL" clId="{4B050CFC-5B60-4CB0-90C1-6B3AA2BC9A6B}" dt="2024-09-16T10:18:21.772" v="187" actId="478"/>
          <ac:picMkLst>
            <pc:docMk/>
            <pc:sldMk cId="3600418467" sldId="355"/>
            <ac:picMk id="5126" creationId="{2FFCF47B-1B69-B66C-AC4F-761842EDC82E}"/>
          </ac:picMkLst>
        </pc:picChg>
      </pc:sldChg>
      <pc:sldChg chg="modSp mod">
        <pc:chgData name="Pytlíček Zdeněk" userId="f1b96d20-667b-444a-b19d-4ff707ea1486" providerId="ADAL" clId="{4B050CFC-5B60-4CB0-90C1-6B3AA2BC9A6B}" dt="2024-09-16T11:17:50.775" v="619" actId="6549"/>
        <pc:sldMkLst>
          <pc:docMk/>
          <pc:sldMk cId="1313477572" sldId="357"/>
        </pc:sldMkLst>
        <pc:spChg chg="mod">
          <ac:chgData name="Pytlíček Zdeněk" userId="f1b96d20-667b-444a-b19d-4ff707ea1486" providerId="ADAL" clId="{4B050CFC-5B60-4CB0-90C1-6B3AA2BC9A6B}" dt="2024-09-16T11:17:50.775" v="619" actId="6549"/>
          <ac:spMkLst>
            <pc:docMk/>
            <pc:sldMk cId="1313477572" sldId="357"/>
            <ac:spMk id="10" creationId="{C0AD31AD-B26B-4EA8-9B2A-737F5E815494}"/>
          </ac:spMkLst>
        </pc:spChg>
      </pc:sldChg>
      <pc:sldChg chg="modSp mod">
        <pc:chgData name="Pytlíček Zdeněk" userId="f1b96d20-667b-444a-b19d-4ff707ea1486" providerId="ADAL" clId="{4B050CFC-5B60-4CB0-90C1-6B3AA2BC9A6B}" dt="2024-09-24T06:29:34.950" v="2331" actId="20577"/>
        <pc:sldMkLst>
          <pc:docMk/>
          <pc:sldMk cId="1101527405" sldId="358"/>
        </pc:sldMkLst>
        <pc:spChg chg="mod">
          <ac:chgData name="Pytlíček Zdeněk" userId="f1b96d20-667b-444a-b19d-4ff707ea1486" providerId="ADAL" clId="{4B050CFC-5B60-4CB0-90C1-6B3AA2BC9A6B}" dt="2024-09-24T06:29:34.950" v="2331" actId="20577"/>
          <ac:spMkLst>
            <pc:docMk/>
            <pc:sldMk cId="1101527405" sldId="358"/>
            <ac:spMk id="3" creationId="{2AFB5DCD-4F01-443B-F5B7-A613C1E958BD}"/>
          </ac:spMkLst>
        </pc:spChg>
        <pc:spChg chg="mod">
          <ac:chgData name="Pytlíček Zdeněk" userId="f1b96d20-667b-444a-b19d-4ff707ea1486" providerId="ADAL" clId="{4B050CFC-5B60-4CB0-90C1-6B3AA2BC9A6B}" dt="2024-09-16T10:42:07.319" v="314" actId="1035"/>
          <ac:spMkLst>
            <pc:docMk/>
            <pc:sldMk cId="1101527405" sldId="358"/>
            <ac:spMk id="7" creationId="{E3513366-B5AA-4C02-BE47-60E5C0499417}"/>
          </ac:spMkLst>
        </pc:spChg>
      </pc:sldChg>
      <pc:sldChg chg="modSp mod ord">
        <pc:chgData name="Pytlíček Zdeněk" userId="f1b96d20-667b-444a-b19d-4ff707ea1486" providerId="ADAL" clId="{4B050CFC-5B60-4CB0-90C1-6B3AA2BC9A6B}" dt="2024-09-17T07:05:35.053" v="840" actId="1035"/>
        <pc:sldMkLst>
          <pc:docMk/>
          <pc:sldMk cId="1525299404" sldId="363"/>
        </pc:sldMkLst>
        <pc:spChg chg="mod">
          <ac:chgData name="Pytlíček Zdeněk" userId="f1b96d20-667b-444a-b19d-4ff707ea1486" providerId="ADAL" clId="{4B050CFC-5B60-4CB0-90C1-6B3AA2BC9A6B}" dt="2024-09-17T07:05:35.053" v="840" actId="1035"/>
          <ac:spMkLst>
            <pc:docMk/>
            <pc:sldMk cId="1525299404" sldId="363"/>
            <ac:spMk id="3" creationId="{D5A513DC-1B70-3008-21A9-4D90037E85D9}"/>
          </ac:spMkLst>
        </pc:spChg>
        <pc:spChg chg="mod">
          <ac:chgData name="Pytlíček Zdeněk" userId="f1b96d20-667b-444a-b19d-4ff707ea1486" providerId="ADAL" clId="{4B050CFC-5B60-4CB0-90C1-6B3AA2BC9A6B}" dt="2024-09-16T10:48:55.773" v="386" actId="790"/>
          <ac:spMkLst>
            <pc:docMk/>
            <pc:sldMk cId="1525299404" sldId="363"/>
            <ac:spMk id="6" creationId="{7C4E4BB0-05E4-48F2-827B-2DFA2B19E86E}"/>
          </ac:spMkLst>
        </pc:spChg>
        <pc:graphicFrameChg chg="mod modGraphic">
          <ac:chgData name="Pytlíček Zdeněk" userId="f1b96d20-667b-444a-b19d-4ff707ea1486" providerId="ADAL" clId="{4B050CFC-5B60-4CB0-90C1-6B3AA2BC9A6B}" dt="2024-09-17T07:05:35.053" v="840" actId="1035"/>
          <ac:graphicFrameMkLst>
            <pc:docMk/>
            <pc:sldMk cId="1525299404" sldId="363"/>
            <ac:graphicFrameMk id="2" creationId="{6B5C7500-709E-2415-9304-4AF9A7AFE88D}"/>
          </ac:graphicFrameMkLst>
        </pc:graphicFrameChg>
      </pc:sldChg>
      <pc:sldChg chg="addSp delSp modSp mod ord">
        <pc:chgData name="Pytlíček Zdeněk" userId="f1b96d20-667b-444a-b19d-4ff707ea1486" providerId="ADAL" clId="{4B050CFC-5B60-4CB0-90C1-6B3AA2BC9A6B}" dt="2024-09-16T11:22:14.245" v="639" actId="255"/>
        <pc:sldMkLst>
          <pc:docMk/>
          <pc:sldMk cId="1191183657" sldId="364"/>
        </pc:sldMkLst>
        <pc:spChg chg="add mod">
          <ac:chgData name="Pytlíček Zdeněk" userId="f1b96d20-667b-444a-b19d-4ff707ea1486" providerId="ADAL" clId="{4B050CFC-5B60-4CB0-90C1-6B3AA2BC9A6B}" dt="2024-09-16T10:45:02.409" v="330"/>
          <ac:spMkLst>
            <pc:docMk/>
            <pc:sldMk cId="1191183657" sldId="364"/>
            <ac:spMk id="2" creationId="{D0B67E6F-A0A4-46C2-A200-2664CFDB7397}"/>
          </ac:spMkLst>
        </pc:spChg>
        <pc:spChg chg="add mod">
          <ac:chgData name="Pytlíček Zdeněk" userId="f1b96d20-667b-444a-b19d-4ff707ea1486" providerId="ADAL" clId="{4B050CFC-5B60-4CB0-90C1-6B3AA2BC9A6B}" dt="2024-09-16T10:45:02.409" v="330"/>
          <ac:spMkLst>
            <pc:docMk/>
            <pc:sldMk cId="1191183657" sldId="364"/>
            <ac:spMk id="4" creationId="{031C8FE1-69A9-0088-FCAD-77B28B024EC3}"/>
          </ac:spMkLst>
        </pc:spChg>
        <pc:spChg chg="mod">
          <ac:chgData name="Pytlíček Zdeněk" userId="f1b96d20-667b-444a-b19d-4ff707ea1486" providerId="ADAL" clId="{4B050CFC-5B60-4CB0-90C1-6B3AA2BC9A6B}" dt="2024-09-16T10:54:08.955" v="421" actId="1036"/>
          <ac:spMkLst>
            <pc:docMk/>
            <pc:sldMk cId="1191183657" sldId="364"/>
            <ac:spMk id="6" creationId="{7C4E4BB0-05E4-48F2-827B-2DFA2B19E86E}"/>
          </ac:spMkLst>
        </pc:spChg>
        <pc:spChg chg="add del">
          <ac:chgData name="Pytlíček Zdeněk" userId="f1b96d20-667b-444a-b19d-4ff707ea1486" providerId="ADAL" clId="{4B050CFC-5B60-4CB0-90C1-6B3AA2BC9A6B}" dt="2024-09-16T11:20:04.578" v="620" actId="478"/>
          <ac:spMkLst>
            <pc:docMk/>
            <pc:sldMk cId="1191183657" sldId="364"/>
            <ac:spMk id="7" creationId="{75DDF380-BEF0-9767-FA67-B88DAF3CFE49}"/>
          </ac:spMkLst>
        </pc:spChg>
        <pc:spChg chg="add mod">
          <ac:chgData name="Pytlíček Zdeněk" userId="f1b96d20-667b-444a-b19d-4ff707ea1486" providerId="ADAL" clId="{4B050CFC-5B60-4CB0-90C1-6B3AA2BC9A6B}" dt="2024-09-16T10:45:02.409" v="330"/>
          <ac:spMkLst>
            <pc:docMk/>
            <pc:sldMk cId="1191183657" sldId="364"/>
            <ac:spMk id="8" creationId="{5AB14EAB-AE39-3184-0A88-0D0ABC0AADD8}"/>
          </ac:spMkLst>
        </pc:spChg>
        <pc:spChg chg="add del mod">
          <ac:chgData name="Pytlíček Zdeněk" userId="f1b96d20-667b-444a-b19d-4ff707ea1486" providerId="ADAL" clId="{4B050CFC-5B60-4CB0-90C1-6B3AA2BC9A6B}" dt="2024-09-16T10:53:31.621" v="414" actId="207"/>
          <ac:spMkLst>
            <pc:docMk/>
            <pc:sldMk cId="1191183657" sldId="364"/>
            <ac:spMk id="9" creationId="{8F06F53E-69FE-4A7F-F960-341FEB2BD815}"/>
          </ac:spMkLst>
        </pc:spChg>
        <pc:spChg chg="add del">
          <ac:chgData name="Pytlíček Zdeněk" userId="f1b96d20-667b-444a-b19d-4ff707ea1486" providerId="ADAL" clId="{4B050CFC-5B60-4CB0-90C1-6B3AA2BC9A6B}" dt="2024-09-16T10:45:12.113" v="331" actId="478"/>
          <ac:spMkLst>
            <pc:docMk/>
            <pc:sldMk cId="1191183657" sldId="364"/>
            <ac:spMk id="16" creationId="{4937B9B4-9C07-43F3-B211-210A907E67E7}"/>
          </ac:spMkLst>
        </pc:spChg>
        <pc:spChg chg="add del">
          <ac:chgData name="Pytlíček Zdeněk" userId="f1b96d20-667b-444a-b19d-4ff707ea1486" providerId="ADAL" clId="{4B050CFC-5B60-4CB0-90C1-6B3AA2BC9A6B}" dt="2024-09-16T10:45:12.113" v="331" actId="478"/>
          <ac:spMkLst>
            <pc:docMk/>
            <pc:sldMk cId="1191183657" sldId="364"/>
            <ac:spMk id="17" creationId="{EF6BDD81-C31D-CD6A-9BF1-5C862456B1FC}"/>
          </ac:spMkLst>
        </pc:spChg>
        <pc:spChg chg="add mod">
          <ac:chgData name="Pytlíček Zdeněk" userId="f1b96d20-667b-444a-b19d-4ff707ea1486" providerId="ADAL" clId="{4B050CFC-5B60-4CB0-90C1-6B3AA2BC9A6B}" dt="2024-09-16T10:45:02.409" v="330"/>
          <ac:spMkLst>
            <pc:docMk/>
            <pc:sldMk cId="1191183657" sldId="364"/>
            <ac:spMk id="18" creationId="{E2EFF62D-6617-54AF-43CF-F55B4B5531BD}"/>
          </ac:spMkLst>
        </pc:spChg>
        <pc:spChg chg="add mod">
          <ac:chgData name="Pytlíček Zdeněk" userId="f1b96d20-667b-444a-b19d-4ff707ea1486" providerId="ADAL" clId="{4B050CFC-5B60-4CB0-90C1-6B3AA2BC9A6B}" dt="2024-09-16T10:45:02.409" v="330"/>
          <ac:spMkLst>
            <pc:docMk/>
            <pc:sldMk cId="1191183657" sldId="364"/>
            <ac:spMk id="19" creationId="{B1CE28B2-0D92-07F4-5B76-3AD4FA2E8556}"/>
          </ac:spMkLst>
        </pc:spChg>
        <pc:spChg chg="add mod">
          <ac:chgData name="Pytlíček Zdeněk" userId="f1b96d20-667b-444a-b19d-4ff707ea1486" providerId="ADAL" clId="{4B050CFC-5B60-4CB0-90C1-6B3AA2BC9A6B}" dt="2024-09-16T10:45:02.409" v="330"/>
          <ac:spMkLst>
            <pc:docMk/>
            <pc:sldMk cId="1191183657" sldId="364"/>
            <ac:spMk id="20" creationId="{32A1E8FB-281B-B5D0-68E9-88EFE62A8361}"/>
          </ac:spMkLst>
        </pc:spChg>
        <pc:spChg chg="add mod">
          <ac:chgData name="Pytlíček Zdeněk" userId="f1b96d20-667b-444a-b19d-4ff707ea1486" providerId="ADAL" clId="{4B050CFC-5B60-4CB0-90C1-6B3AA2BC9A6B}" dt="2024-09-16T10:45:02.409" v="330"/>
          <ac:spMkLst>
            <pc:docMk/>
            <pc:sldMk cId="1191183657" sldId="364"/>
            <ac:spMk id="22" creationId="{27EECE8B-41E4-D82B-A6A2-6F543C962953}"/>
          </ac:spMkLst>
        </pc:spChg>
        <pc:grpChg chg="add del">
          <ac:chgData name="Pytlíček Zdeněk" userId="f1b96d20-667b-444a-b19d-4ff707ea1486" providerId="ADAL" clId="{4B050CFC-5B60-4CB0-90C1-6B3AA2BC9A6B}" dt="2024-09-16T10:45:12.113" v="331" actId="478"/>
          <ac:grpSpMkLst>
            <pc:docMk/>
            <pc:sldMk cId="1191183657" sldId="364"/>
            <ac:grpSpMk id="10" creationId="{9DFE11F3-02AA-5882-6DD6-D30BC71027AB}"/>
          </ac:grpSpMkLst>
        </pc:grpChg>
        <pc:grpChg chg="add del">
          <ac:chgData name="Pytlíček Zdeněk" userId="f1b96d20-667b-444a-b19d-4ff707ea1486" providerId="ADAL" clId="{4B050CFC-5B60-4CB0-90C1-6B3AA2BC9A6B}" dt="2024-09-16T10:45:12.113" v="331" actId="478"/>
          <ac:grpSpMkLst>
            <pc:docMk/>
            <pc:sldMk cId="1191183657" sldId="364"/>
            <ac:grpSpMk id="13" creationId="{B0077E61-C830-C10E-B017-5D2A297A65CD}"/>
          </ac:grpSpMkLst>
        </pc:grpChg>
        <pc:graphicFrameChg chg="add mod">
          <ac:chgData name="Pytlíček Zdeněk" userId="f1b96d20-667b-444a-b19d-4ff707ea1486" providerId="ADAL" clId="{4B050CFC-5B60-4CB0-90C1-6B3AA2BC9A6B}" dt="2024-09-16T10:45:02.409" v="330"/>
          <ac:graphicFrameMkLst>
            <pc:docMk/>
            <pc:sldMk cId="1191183657" sldId="364"/>
            <ac:graphicFrameMk id="3" creationId="{7B718D1F-585D-19F2-6A0F-9293A835ECD8}"/>
          </ac:graphicFrameMkLst>
        </pc:graphicFrameChg>
        <pc:graphicFrameChg chg="add del mod modGraphic">
          <ac:chgData name="Pytlíček Zdeněk" userId="f1b96d20-667b-444a-b19d-4ff707ea1486" providerId="ADAL" clId="{4B050CFC-5B60-4CB0-90C1-6B3AA2BC9A6B}" dt="2024-09-16T11:22:14.245" v="639" actId="255"/>
          <ac:graphicFrameMkLst>
            <pc:docMk/>
            <pc:sldMk cId="1191183657" sldId="364"/>
            <ac:graphicFrameMk id="5" creationId="{AEEEF2A9-D9BD-7D68-7531-4219B903B535}"/>
          </ac:graphicFrameMkLst>
        </pc:graphicFrameChg>
      </pc:sldChg>
      <pc:sldChg chg="del ord">
        <pc:chgData name="Pytlíček Zdeněk" userId="f1b96d20-667b-444a-b19d-4ff707ea1486" providerId="ADAL" clId="{4B050CFC-5B60-4CB0-90C1-6B3AA2BC9A6B}" dt="2024-09-16T10:54:22.135" v="424" actId="47"/>
        <pc:sldMkLst>
          <pc:docMk/>
          <pc:sldMk cId="599576995" sldId="404"/>
        </pc:sldMkLst>
      </pc:sldChg>
      <pc:sldChg chg="modSp mod">
        <pc:chgData name="Pytlíček Zdeněk" userId="f1b96d20-667b-444a-b19d-4ff707ea1486" providerId="ADAL" clId="{4B050CFC-5B60-4CB0-90C1-6B3AA2BC9A6B}" dt="2024-09-16T10:57:18.164" v="436" actId="20577"/>
        <pc:sldMkLst>
          <pc:docMk/>
          <pc:sldMk cId="3219647089" sldId="405"/>
        </pc:sldMkLst>
        <pc:spChg chg="mod">
          <ac:chgData name="Pytlíček Zdeněk" userId="f1b96d20-667b-444a-b19d-4ff707ea1486" providerId="ADAL" clId="{4B050CFC-5B60-4CB0-90C1-6B3AA2BC9A6B}" dt="2024-09-16T10:56:59.857" v="434" actId="14100"/>
          <ac:spMkLst>
            <pc:docMk/>
            <pc:sldMk cId="3219647089" sldId="405"/>
            <ac:spMk id="5" creationId="{87E35A90-CA44-4E75-AEE4-A4F0AE97B002}"/>
          </ac:spMkLst>
        </pc:spChg>
        <pc:spChg chg="mod">
          <ac:chgData name="Pytlíček Zdeněk" userId="f1b96d20-667b-444a-b19d-4ff707ea1486" providerId="ADAL" clId="{4B050CFC-5B60-4CB0-90C1-6B3AA2BC9A6B}" dt="2024-09-16T10:57:18.164" v="436" actId="20577"/>
          <ac:spMkLst>
            <pc:docMk/>
            <pc:sldMk cId="3219647089" sldId="405"/>
            <ac:spMk id="7" creationId="{26CA1059-BB2C-443F-8E5A-318BF23397EB}"/>
          </ac:spMkLst>
        </pc:spChg>
      </pc:sldChg>
      <pc:sldChg chg="del ord">
        <pc:chgData name="Pytlíček Zdeněk" userId="f1b96d20-667b-444a-b19d-4ff707ea1486" providerId="ADAL" clId="{4B050CFC-5B60-4CB0-90C1-6B3AA2BC9A6B}" dt="2024-09-16T10:54:17.845" v="423" actId="47"/>
        <pc:sldMkLst>
          <pc:docMk/>
          <pc:sldMk cId="1011554120" sldId="406"/>
        </pc:sldMkLst>
      </pc:sldChg>
      <pc:sldChg chg="del">
        <pc:chgData name="Pytlíček Zdeněk" userId="f1b96d20-667b-444a-b19d-4ff707ea1486" providerId="ADAL" clId="{4B050CFC-5B60-4CB0-90C1-6B3AA2BC9A6B}" dt="2024-09-16T10:43:11.035" v="323" actId="47"/>
        <pc:sldMkLst>
          <pc:docMk/>
          <pc:sldMk cId="4283024674" sldId="407"/>
        </pc:sldMkLst>
      </pc:sldChg>
      <pc:sldChg chg="del">
        <pc:chgData name="Pytlíček Zdeněk" userId="f1b96d20-667b-444a-b19d-4ff707ea1486" providerId="ADAL" clId="{4B050CFC-5B60-4CB0-90C1-6B3AA2BC9A6B}" dt="2024-09-16T10:43:12.257" v="324" actId="47"/>
        <pc:sldMkLst>
          <pc:docMk/>
          <pc:sldMk cId="3698143525" sldId="408"/>
        </pc:sldMkLst>
      </pc:sldChg>
      <pc:sldChg chg="del">
        <pc:chgData name="Pytlíček Zdeněk" userId="f1b96d20-667b-444a-b19d-4ff707ea1486" providerId="ADAL" clId="{4B050CFC-5B60-4CB0-90C1-6B3AA2BC9A6B}" dt="2024-09-16T10:43:14.010" v="325" actId="47"/>
        <pc:sldMkLst>
          <pc:docMk/>
          <pc:sldMk cId="1945221918" sldId="409"/>
        </pc:sldMkLst>
      </pc:sldChg>
      <pc:sldChg chg="del">
        <pc:chgData name="Pytlíček Zdeněk" userId="f1b96d20-667b-444a-b19d-4ff707ea1486" providerId="ADAL" clId="{4B050CFC-5B60-4CB0-90C1-6B3AA2BC9A6B}" dt="2024-09-16T11:15:15.690" v="592" actId="47"/>
        <pc:sldMkLst>
          <pc:docMk/>
          <pc:sldMk cId="708618989" sldId="410"/>
        </pc:sldMkLst>
      </pc:sldChg>
      <pc:sldChg chg="addSp delSp modSp add mod">
        <pc:chgData name="Pytlíček Zdeněk" userId="f1b96d20-667b-444a-b19d-4ff707ea1486" providerId="ADAL" clId="{4B050CFC-5B60-4CB0-90C1-6B3AA2BC9A6B}" dt="2024-09-16T10:33:12.960" v="253" actId="403"/>
        <pc:sldMkLst>
          <pc:docMk/>
          <pc:sldMk cId="3926388769" sldId="411"/>
        </pc:sldMkLst>
        <pc:spChg chg="del">
          <ac:chgData name="Pytlíček Zdeněk" userId="f1b96d20-667b-444a-b19d-4ff707ea1486" providerId="ADAL" clId="{4B050CFC-5B60-4CB0-90C1-6B3AA2BC9A6B}" dt="2024-09-16T10:15:22.502" v="110" actId="478"/>
          <ac:spMkLst>
            <pc:docMk/>
            <pc:sldMk cId="3926388769" sldId="411"/>
            <ac:spMk id="4" creationId="{8FF13764-EB75-4EB0-B4EC-E454B1C7A204}"/>
          </ac:spMkLst>
        </pc:spChg>
        <pc:spChg chg="add del mod">
          <ac:chgData name="Pytlíček Zdeněk" userId="f1b96d20-667b-444a-b19d-4ff707ea1486" providerId="ADAL" clId="{4B050CFC-5B60-4CB0-90C1-6B3AA2BC9A6B}" dt="2024-09-16T10:15:24.547" v="111" actId="478"/>
          <ac:spMkLst>
            <pc:docMk/>
            <pc:sldMk cId="3926388769" sldId="411"/>
            <ac:spMk id="6" creationId="{75F5E1F2-DFCB-5F10-FFBA-7E64ADF090D2}"/>
          </ac:spMkLst>
        </pc:spChg>
        <pc:spChg chg="mod">
          <ac:chgData name="Pytlíček Zdeněk" userId="f1b96d20-667b-444a-b19d-4ff707ea1486" providerId="ADAL" clId="{4B050CFC-5B60-4CB0-90C1-6B3AA2BC9A6B}" dt="2024-09-16T10:33:12.960" v="253" actId="403"/>
          <ac:spMkLst>
            <pc:docMk/>
            <pc:sldMk cId="3926388769" sldId="411"/>
            <ac:spMk id="8" creationId="{BB75BBAA-EDB1-4CB3-A906-FD28D7B2A040}"/>
          </ac:spMkLst>
        </pc:spChg>
        <pc:spChg chg="mod">
          <ac:chgData name="Pytlíček Zdeněk" userId="f1b96d20-667b-444a-b19d-4ff707ea1486" providerId="ADAL" clId="{4B050CFC-5B60-4CB0-90C1-6B3AA2BC9A6B}" dt="2024-09-16T10:17:17.120" v="185" actId="403"/>
          <ac:spMkLst>
            <pc:docMk/>
            <pc:sldMk cId="3926388769" sldId="411"/>
            <ac:spMk id="14" creationId="{CB6FCC97-0E1A-701D-19BC-1ABFDDF99C28}"/>
          </ac:spMkLst>
        </pc:spChg>
      </pc:sldChg>
      <pc:sldChg chg="addSp delSp modSp add mod">
        <pc:chgData name="Pytlíček Zdeněk" userId="f1b96d20-667b-444a-b19d-4ff707ea1486" providerId="ADAL" clId="{4B050CFC-5B60-4CB0-90C1-6B3AA2BC9A6B}" dt="2024-09-16T10:36:07.751" v="278" actId="14100"/>
        <pc:sldMkLst>
          <pc:docMk/>
          <pc:sldMk cId="2557139902" sldId="412"/>
        </pc:sldMkLst>
        <pc:spChg chg="mod">
          <ac:chgData name="Pytlíček Zdeněk" userId="f1b96d20-667b-444a-b19d-4ff707ea1486" providerId="ADAL" clId="{4B050CFC-5B60-4CB0-90C1-6B3AA2BC9A6B}" dt="2024-09-16T10:36:07.751" v="278" actId="14100"/>
          <ac:spMkLst>
            <pc:docMk/>
            <pc:sldMk cId="2557139902" sldId="412"/>
            <ac:spMk id="6" creationId="{7C4E4BB0-05E4-48F2-827B-2DFA2B19E86E}"/>
          </ac:spMkLst>
        </pc:spChg>
        <pc:spChg chg="mod">
          <ac:chgData name="Pytlíček Zdeněk" userId="f1b96d20-667b-444a-b19d-4ff707ea1486" providerId="ADAL" clId="{4B050CFC-5B60-4CB0-90C1-6B3AA2BC9A6B}" dt="2024-09-16T10:34:59.665" v="260"/>
          <ac:spMkLst>
            <pc:docMk/>
            <pc:sldMk cId="2557139902" sldId="412"/>
            <ac:spMk id="8" creationId="{C255EAD2-194A-660E-BA3E-33C609F7A2BE}"/>
          </ac:spMkLst>
        </pc:spChg>
        <pc:spChg chg="mod">
          <ac:chgData name="Pytlíček Zdeněk" userId="f1b96d20-667b-444a-b19d-4ff707ea1486" providerId="ADAL" clId="{4B050CFC-5B60-4CB0-90C1-6B3AA2BC9A6B}" dt="2024-09-16T10:34:59.665" v="260"/>
          <ac:spMkLst>
            <pc:docMk/>
            <pc:sldMk cId="2557139902" sldId="412"/>
            <ac:spMk id="10" creationId="{BE3178EB-90C6-9B3D-BAAC-EDD9A31F5C0B}"/>
          </ac:spMkLst>
        </pc:spChg>
        <pc:grpChg chg="del">
          <ac:chgData name="Pytlíček Zdeněk" userId="f1b96d20-667b-444a-b19d-4ff707ea1486" providerId="ADAL" clId="{4B050CFC-5B60-4CB0-90C1-6B3AA2BC9A6B}" dt="2024-09-16T10:34:57.814" v="259" actId="478"/>
          <ac:grpSpMkLst>
            <pc:docMk/>
            <pc:sldMk cId="2557139902" sldId="412"/>
            <ac:grpSpMk id="2" creationId="{3643281B-F4FC-FD11-AC82-5D7B1442B214}"/>
          </ac:grpSpMkLst>
        </pc:grpChg>
        <pc:grpChg chg="add mod">
          <ac:chgData name="Pytlíček Zdeněk" userId="f1b96d20-667b-444a-b19d-4ff707ea1486" providerId="ADAL" clId="{4B050CFC-5B60-4CB0-90C1-6B3AA2BC9A6B}" dt="2024-09-16T10:35:22.983" v="264" actId="1035"/>
          <ac:grpSpMkLst>
            <pc:docMk/>
            <pc:sldMk cId="2557139902" sldId="412"/>
            <ac:grpSpMk id="7" creationId="{E51D6403-3DF6-1416-380B-ABC2E7D1984A}"/>
          </ac:grpSpMkLst>
        </pc:grpChg>
        <pc:graphicFrameChg chg="add mod">
          <ac:chgData name="Pytlíček Zdeněk" userId="f1b96d20-667b-444a-b19d-4ff707ea1486" providerId="ADAL" clId="{4B050CFC-5B60-4CB0-90C1-6B3AA2BC9A6B}" dt="2024-09-16T10:35:12.810" v="262" actId="1036"/>
          <ac:graphicFrameMkLst>
            <pc:docMk/>
            <pc:sldMk cId="2557139902" sldId="412"/>
            <ac:graphicFrameMk id="5" creationId="{F99BAFF6-ADC4-FE65-7F9D-37A7EF033B23}"/>
          </ac:graphicFrameMkLst>
        </pc:graphicFrameChg>
        <pc:graphicFrameChg chg="del">
          <ac:chgData name="Pytlíček Zdeněk" userId="f1b96d20-667b-444a-b19d-4ff707ea1486" providerId="ADAL" clId="{4B050CFC-5B60-4CB0-90C1-6B3AA2BC9A6B}" dt="2024-09-16T10:34:54.679" v="258" actId="478"/>
          <ac:graphicFrameMkLst>
            <pc:docMk/>
            <pc:sldMk cId="2557139902" sldId="412"/>
            <ac:graphicFrameMk id="9" creationId="{3BB1FA20-942C-29A3-6579-50051381A5B7}"/>
          </ac:graphicFrameMkLst>
        </pc:graphicFrameChg>
      </pc:sldChg>
      <pc:sldChg chg="add del ord">
        <pc:chgData name="Pytlíček Zdeněk" userId="f1b96d20-667b-444a-b19d-4ff707ea1486" providerId="ADAL" clId="{4B050CFC-5B60-4CB0-90C1-6B3AA2BC9A6B}" dt="2024-09-16T10:54:13.101" v="422" actId="47"/>
        <pc:sldMkLst>
          <pc:docMk/>
          <pc:sldMk cId="781943791" sldId="413"/>
        </pc:sldMkLst>
      </pc:sldChg>
      <pc:sldChg chg="modSp add mod ord">
        <pc:chgData name="Pytlíček Zdeněk" userId="f1b96d20-667b-444a-b19d-4ff707ea1486" providerId="ADAL" clId="{4B050CFC-5B60-4CB0-90C1-6B3AA2BC9A6B}" dt="2024-09-16T11:00:25.059" v="448" actId="1035"/>
        <pc:sldMkLst>
          <pc:docMk/>
          <pc:sldMk cId="1985503692" sldId="413"/>
        </pc:sldMkLst>
        <pc:spChg chg="mod">
          <ac:chgData name="Pytlíček Zdeněk" userId="f1b96d20-667b-444a-b19d-4ff707ea1486" providerId="ADAL" clId="{4B050CFC-5B60-4CB0-90C1-6B3AA2BC9A6B}" dt="2024-09-16T10:59:27.497" v="442"/>
          <ac:spMkLst>
            <pc:docMk/>
            <pc:sldMk cId="1985503692" sldId="413"/>
            <ac:spMk id="2" creationId="{82F9C02E-6E50-426A-BD5A-84DF309B4E9D}"/>
          </ac:spMkLst>
        </pc:spChg>
        <pc:spChg chg="mod">
          <ac:chgData name="Pytlíček Zdeněk" userId="f1b96d20-667b-444a-b19d-4ff707ea1486" providerId="ADAL" clId="{4B050CFC-5B60-4CB0-90C1-6B3AA2BC9A6B}" dt="2024-09-16T11:00:25.059" v="448" actId="1035"/>
          <ac:spMkLst>
            <pc:docMk/>
            <pc:sldMk cId="1985503692" sldId="413"/>
            <ac:spMk id="4" creationId="{8FF13764-EB75-4EB0-B4EC-E454B1C7A204}"/>
          </ac:spMkLst>
        </pc:spChg>
        <pc:spChg chg="mod">
          <ac:chgData name="Pytlíček Zdeněk" userId="f1b96d20-667b-444a-b19d-4ff707ea1486" providerId="ADAL" clId="{4B050CFC-5B60-4CB0-90C1-6B3AA2BC9A6B}" dt="2024-09-16T11:00:25.059" v="448" actId="1035"/>
          <ac:spMkLst>
            <pc:docMk/>
            <pc:sldMk cId="1985503692" sldId="413"/>
            <ac:spMk id="5" creationId="{87E35A90-CA44-4E75-AEE4-A4F0AE97B002}"/>
          </ac:spMkLst>
        </pc:spChg>
        <pc:spChg chg="mod">
          <ac:chgData name="Pytlíček Zdeněk" userId="f1b96d20-667b-444a-b19d-4ff707ea1486" providerId="ADAL" clId="{4B050CFC-5B60-4CB0-90C1-6B3AA2BC9A6B}" dt="2024-09-16T11:00:25.059" v="448" actId="1035"/>
          <ac:spMkLst>
            <pc:docMk/>
            <pc:sldMk cId="1985503692" sldId="413"/>
            <ac:spMk id="6" creationId="{7E8FCC90-745A-442F-9BBC-6DE6321C5380}"/>
          </ac:spMkLst>
        </pc:spChg>
        <pc:spChg chg="mod">
          <ac:chgData name="Pytlíček Zdeněk" userId="f1b96d20-667b-444a-b19d-4ff707ea1486" providerId="ADAL" clId="{4B050CFC-5B60-4CB0-90C1-6B3AA2BC9A6B}" dt="2024-09-16T11:00:25.059" v="448" actId="1035"/>
          <ac:spMkLst>
            <pc:docMk/>
            <pc:sldMk cId="1985503692" sldId="413"/>
            <ac:spMk id="7" creationId="{26CA1059-BB2C-443F-8E5A-318BF23397EB}"/>
          </ac:spMkLst>
        </pc:spChg>
        <pc:spChg chg="mod">
          <ac:chgData name="Pytlíček Zdeněk" userId="f1b96d20-667b-444a-b19d-4ff707ea1486" providerId="ADAL" clId="{4B050CFC-5B60-4CB0-90C1-6B3AA2BC9A6B}" dt="2024-09-16T10:59:12.776" v="441"/>
          <ac:spMkLst>
            <pc:docMk/>
            <pc:sldMk cId="1985503692" sldId="413"/>
            <ac:spMk id="8" creationId="{BB75BBAA-EDB1-4CB3-A906-FD28D7B2A040}"/>
          </ac:spMkLst>
        </pc:spChg>
      </pc:sldChg>
      <pc:sldChg chg="addSp delSp modSp add mod">
        <pc:chgData name="Pytlíček Zdeněk" userId="f1b96d20-667b-444a-b19d-4ff707ea1486" providerId="ADAL" clId="{4B050CFC-5B60-4CB0-90C1-6B3AA2BC9A6B}" dt="2024-09-24T06:32:23.920" v="2349" actId="1076"/>
        <pc:sldMkLst>
          <pc:docMk/>
          <pc:sldMk cId="2364223458" sldId="414"/>
        </pc:sldMkLst>
        <pc:spChg chg="mod">
          <ac:chgData name="Pytlíček Zdeněk" userId="f1b96d20-667b-444a-b19d-4ff707ea1486" providerId="ADAL" clId="{4B050CFC-5B60-4CB0-90C1-6B3AA2BC9A6B}" dt="2024-09-16T11:01:56.743" v="471" actId="14100"/>
          <ac:spMkLst>
            <pc:docMk/>
            <pc:sldMk cId="2364223458" sldId="414"/>
            <ac:spMk id="2" creationId="{82F9C02E-6E50-426A-BD5A-84DF309B4E9D}"/>
          </ac:spMkLst>
        </pc:spChg>
        <pc:spChg chg="mod">
          <ac:chgData name="Pytlíček Zdeněk" userId="f1b96d20-667b-444a-b19d-4ff707ea1486" providerId="ADAL" clId="{4B050CFC-5B60-4CB0-90C1-6B3AA2BC9A6B}" dt="2024-09-16T11:16:39.684" v="602" actId="1038"/>
          <ac:spMkLst>
            <pc:docMk/>
            <pc:sldMk cId="2364223458" sldId="414"/>
            <ac:spMk id="4" creationId="{8FF13764-EB75-4EB0-B4EC-E454B1C7A204}"/>
          </ac:spMkLst>
        </pc:spChg>
        <pc:spChg chg="mod">
          <ac:chgData name="Pytlíček Zdeněk" userId="f1b96d20-667b-444a-b19d-4ff707ea1486" providerId="ADAL" clId="{4B050CFC-5B60-4CB0-90C1-6B3AA2BC9A6B}" dt="2024-09-16T11:17:08.886" v="610" actId="20577"/>
          <ac:spMkLst>
            <pc:docMk/>
            <pc:sldMk cId="2364223458" sldId="414"/>
            <ac:spMk id="5" creationId="{87E35A90-CA44-4E75-AEE4-A4F0AE97B002}"/>
          </ac:spMkLst>
        </pc:spChg>
        <pc:spChg chg="mod">
          <ac:chgData name="Pytlíček Zdeněk" userId="f1b96d20-667b-444a-b19d-4ff707ea1486" providerId="ADAL" clId="{4B050CFC-5B60-4CB0-90C1-6B3AA2BC9A6B}" dt="2024-09-16T11:16:31.149" v="600" actId="1037"/>
          <ac:spMkLst>
            <pc:docMk/>
            <pc:sldMk cId="2364223458" sldId="414"/>
            <ac:spMk id="6" creationId="{7E8FCC90-745A-442F-9BBC-6DE6321C5380}"/>
          </ac:spMkLst>
        </pc:spChg>
        <pc:spChg chg="mod">
          <ac:chgData name="Pytlíček Zdeněk" userId="f1b96d20-667b-444a-b19d-4ff707ea1486" providerId="ADAL" clId="{4B050CFC-5B60-4CB0-90C1-6B3AA2BC9A6B}" dt="2024-09-16T11:16:39.684" v="602" actId="1038"/>
          <ac:spMkLst>
            <pc:docMk/>
            <pc:sldMk cId="2364223458" sldId="414"/>
            <ac:spMk id="7" creationId="{26CA1059-BB2C-443F-8E5A-318BF23397EB}"/>
          </ac:spMkLst>
        </pc:spChg>
        <pc:spChg chg="mod">
          <ac:chgData name="Pytlíček Zdeněk" userId="f1b96d20-667b-444a-b19d-4ff707ea1486" providerId="ADAL" clId="{4B050CFC-5B60-4CB0-90C1-6B3AA2BC9A6B}" dt="2024-09-16T11:01:25.885" v="469" actId="6549"/>
          <ac:spMkLst>
            <pc:docMk/>
            <pc:sldMk cId="2364223458" sldId="414"/>
            <ac:spMk id="8" creationId="{BB75BBAA-EDB1-4CB3-A906-FD28D7B2A040}"/>
          </ac:spMkLst>
        </pc:spChg>
        <pc:spChg chg="add mod">
          <ac:chgData name="Pytlíček Zdeněk" userId="f1b96d20-667b-444a-b19d-4ff707ea1486" providerId="ADAL" clId="{4B050CFC-5B60-4CB0-90C1-6B3AA2BC9A6B}" dt="2024-09-16T11:16:31.149" v="600" actId="1037"/>
          <ac:spMkLst>
            <pc:docMk/>
            <pc:sldMk cId="2364223458" sldId="414"/>
            <ac:spMk id="9" creationId="{63EA6D3F-CC1F-8B14-FED7-8E51D72634F7}"/>
          </ac:spMkLst>
        </pc:spChg>
        <pc:spChg chg="add mod">
          <ac:chgData name="Pytlíček Zdeněk" userId="f1b96d20-667b-444a-b19d-4ff707ea1486" providerId="ADAL" clId="{4B050CFC-5B60-4CB0-90C1-6B3AA2BC9A6B}" dt="2024-09-16T11:16:39.684" v="602" actId="1038"/>
          <ac:spMkLst>
            <pc:docMk/>
            <pc:sldMk cId="2364223458" sldId="414"/>
            <ac:spMk id="10" creationId="{342F3EF1-0D17-AFB1-09C0-F0ACD7DE63F8}"/>
          </ac:spMkLst>
        </pc:spChg>
        <pc:spChg chg="add del mod">
          <ac:chgData name="Pytlíček Zdeněk" userId="f1b96d20-667b-444a-b19d-4ff707ea1486" providerId="ADAL" clId="{4B050CFC-5B60-4CB0-90C1-6B3AA2BC9A6B}" dt="2024-09-16T11:10:27.740" v="553" actId="478"/>
          <ac:spMkLst>
            <pc:docMk/>
            <pc:sldMk cId="2364223458" sldId="414"/>
            <ac:spMk id="11" creationId="{8D11A49F-BB48-02EF-255F-A10011788471}"/>
          </ac:spMkLst>
        </pc:spChg>
        <pc:spChg chg="add mod">
          <ac:chgData name="Pytlíček Zdeněk" userId="f1b96d20-667b-444a-b19d-4ff707ea1486" providerId="ADAL" clId="{4B050CFC-5B60-4CB0-90C1-6B3AA2BC9A6B}" dt="2024-09-24T06:32:17.936" v="2348" actId="1076"/>
          <ac:spMkLst>
            <pc:docMk/>
            <pc:sldMk cId="2364223458" sldId="414"/>
            <ac:spMk id="11" creationId="{9FDDDE50-9BD9-5DCD-D34B-5D6CD3951947}"/>
          </ac:spMkLst>
        </pc:spChg>
        <pc:spChg chg="add mod">
          <ac:chgData name="Pytlíček Zdeněk" userId="f1b96d20-667b-444a-b19d-4ff707ea1486" providerId="ADAL" clId="{4B050CFC-5B60-4CB0-90C1-6B3AA2BC9A6B}" dt="2024-09-24T06:31:53.670" v="2346" actId="1076"/>
          <ac:spMkLst>
            <pc:docMk/>
            <pc:sldMk cId="2364223458" sldId="414"/>
            <ac:spMk id="12" creationId="{618A7272-8541-7235-6B9D-1D498D2ADE96}"/>
          </ac:spMkLst>
        </pc:spChg>
        <pc:spChg chg="add mod">
          <ac:chgData name="Pytlíček Zdeněk" userId="f1b96d20-667b-444a-b19d-4ff707ea1486" providerId="ADAL" clId="{4B050CFC-5B60-4CB0-90C1-6B3AA2BC9A6B}" dt="2024-09-16T11:05:37.542" v="503" actId="1076"/>
          <ac:spMkLst>
            <pc:docMk/>
            <pc:sldMk cId="2364223458" sldId="414"/>
            <ac:spMk id="12" creationId="{AFF71ACF-F7B5-8A42-866E-42CE8FC8337A}"/>
          </ac:spMkLst>
        </pc:spChg>
        <pc:spChg chg="add mod">
          <ac:chgData name="Pytlíček Zdeněk" userId="f1b96d20-667b-444a-b19d-4ff707ea1486" providerId="ADAL" clId="{4B050CFC-5B60-4CB0-90C1-6B3AA2BC9A6B}" dt="2024-09-24T06:31:47.577" v="2345" actId="1076"/>
          <ac:spMkLst>
            <pc:docMk/>
            <pc:sldMk cId="2364223458" sldId="414"/>
            <ac:spMk id="13" creationId="{5B8F6D57-2118-78FF-A12E-59A542AED4A0}"/>
          </ac:spMkLst>
        </pc:spChg>
        <pc:spChg chg="add mod">
          <ac:chgData name="Pytlíček Zdeněk" userId="f1b96d20-667b-444a-b19d-4ff707ea1486" providerId="ADAL" clId="{4B050CFC-5B60-4CB0-90C1-6B3AA2BC9A6B}" dt="2024-09-16T11:05:55.893" v="508" actId="1037"/>
          <ac:spMkLst>
            <pc:docMk/>
            <pc:sldMk cId="2364223458" sldId="414"/>
            <ac:spMk id="13" creationId="{946011F9-FF1F-C48A-F3A7-7AC48ACB060E}"/>
          </ac:spMkLst>
        </pc:spChg>
        <pc:spChg chg="add del mod">
          <ac:chgData name="Pytlíček Zdeněk" userId="f1b96d20-667b-444a-b19d-4ff707ea1486" providerId="ADAL" clId="{4B050CFC-5B60-4CB0-90C1-6B3AA2BC9A6B}" dt="2024-09-16T11:10:32.653" v="554" actId="478"/>
          <ac:spMkLst>
            <pc:docMk/>
            <pc:sldMk cId="2364223458" sldId="414"/>
            <ac:spMk id="14" creationId="{5AEA1F02-EE93-84C9-710D-EB244B32E2F3}"/>
          </ac:spMkLst>
        </pc:spChg>
        <pc:spChg chg="add mod">
          <ac:chgData name="Pytlíček Zdeněk" userId="f1b96d20-667b-444a-b19d-4ff707ea1486" providerId="ADAL" clId="{4B050CFC-5B60-4CB0-90C1-6B3AA2BC9A6B}" dt="2024-09-24T06:32:23.920" v="2349" actId="1076"/>
          <ac:spMkLst>
            <pc:docMk/>
            <pc:sldMk cId="2364223458" sldId="414"/>
            <ac:spMk id="14" creationId="{EACE4F58-FBD7-B045-7B7F-210F093BF78A}"/>
          </ac:spMkLst>
        </pc:spChg>
        <pc:spChg chg="add del mod">
          <ac:chgData name="Pytlíček Zdeněk" userId="f1b96d20-667b-444a-b19d-4ff707ea1486" providerId="ADAL" clId="{4B050CFC-5B60-4CB0-90C1-6B3AA2BC9A6B}" dt="2024-09-16T11:10:35.885" v="555" actId="478"/>
          <ac:spMkLst>
            <pc:docMk/>
            <pc:sldMk cId="2364223458" sldId="414"/>
            <ac:spMk id="15" creationId="{AF49BAFE-E1B7-76E5-9CE5-0CCD1346F495}"/>
          </ac:spMkLst>
        </pc:spChg>
        <pc:spChg chg="add del mod">
          <ac:chgData name="Pytlíček Zdeněk" userId="f1b96d20-667b-444a-b19d-4ff707ea1486" providerId="ADAL" clId="{4B050CFC-5B60-4CB0-90C1-6B3AA2BC9A6B}" dt="2024-09-16T11:10:37.197" v="556" actId="478"/>
          <ac:spMkLst>
            <pc:docMk/>
            <pc:sldMk cId="2364223458" sldId="414"/>
            <ac:spMk id="16" creationId="{CEE23D73-A823-DDE3-FEB1-5B5C0EE6AB16}"/>
          </ac:spMkLst>
        </pc:spChg>
        <pc:spChg chg="add del mod">
          <ac:chgData name="Pytlíček Zdeněk" userId="f1b96d20-667b-444a-b19d-4ff707ea1486" providerId="ADAL" clId="{4B050CFC-5B60-4CB0-90C1-6B3AA2BC9A6B}" dt="2024-09-24T06:30:35.585" v="2332" actId="478"/>
          <ac:spMkLst>
            <pc:docMk/>
            <pc:sldMk cId="2364223458" sldId="414"/>
            <ac:spMk id="17" creationId="{8BF8FA95-79F8-13AA-0BDC-14B05CF13090}"/>
          </ac:spMkLst>
        </pc:spChg>
        <pc:spChg chg="add del mod">
          <ac:chgData name="Pytlíček Zdeněk" userId="f1b96d20-667b-444a-b19d-4ff707ea1486" providerId="ADAL" clId="{4B050CFC-5B60-4CB0-90C1-6B3AA2BC9A6B}" dt="2024-09-24T06:30:36.545" v="2333" actId="478"/>
          <ac:spMkLst>
            <pc:docMk/>
            <pc:sldMk cId="2364223458" sldId="414"/>
            <ac:spMk id="18" creationId="{D5D7BB9C-F4FB-ED62-7567-F5232F5913F1}"/>
          </ac:spMkLst>
        </pc:spChg>
        <pc:spChg chg="add del mod">
          <ac:chgData name="Pytlíček Zdeněk" userId="f1b96d20-667b-444a-b19d-4ff707ea1486" providerId="ADAL" clId="{4B050CFC-5B60-4CB0-90C1-6B3AA2BC9A6B}" dt="2024-09-24T06:30:37.946" v="2334" actId="478"/>
          <ac:spMkLst>
            <pc:docMk/>
            <pc:sldMk cId="2364223458" sldId="414"/>
            <ac:spMk id="19" creationId="{8FBC8753-F229-E497-3ECF-28A61C217A45}"/>
          </ac:spMkLst>
        </pc:spChg>
        <pc:spChg chg="add del mod">
          <ac:chgData name="Pytlíček Zdeněk" userId="f1b96d20-667b-444a-b19d-4ff707ea1486" providerId="ADAL" clId="{4B050CFC-5B60-4CB0-90C1-6B3AA2BC9A6B}" dt="2024-09-24T06:30:38.996" v="2335" actId="478"/>
          <ac:spMkLst>
            <pc:docMk/>
            <pc:sldMk cId="2364223458" sldId="414"/>
            <ac:spMk id="20" creationId="{F335070A-DE77-ED56-9D32-A6840DC447F1}"/>
          </ac:spMkLst>
        </pc:spChg>
      </pc:sldChg>
      <pc:sldChg chg="addSp delSp modSp add mod modTransition setBg modAnim chgLayout">
        <pc:chgData name="Pytlíček Zdeněk" userId="f1b96d20-667b-444a-b19d-4ff707ea1486" providerId="ADAL" clId="{4B050CFC-5B60-4CB0-90C1-6B3AA2BC9A6B}" dt="2024-09-17T10:13:04.741" v="1464" actId="20577"/>
        <pc:sldMkLst>
          <pc:docMk/>
          <pc:sldMk cId="3081572716" sldId="2147483586"/>
        </pc:sldMkLst>
        <pc:spChg chg="del">
          <ac:chgData name="Pytlíček Zdeněk" userId="f1b96d20-667b-444a-b19d-4ff707ea1486" providerId="ADAL" clId="{4B050CFC-5B60-4CB0-90C1-6B3AA2BC9A6B}" dt="2024-09-16T11:23:10.503" v="641" actId="478"/>
          <ac:spMkLst>
            <pc:docMk/>
            <pc:sldMk cId="3081572716" sldId="2147483586"/>
            <ac:spMk id="3" creationId="{42F3B99F-24C9-475A-A154-58900D39E4CA}"/>
          </ac:spMkLst>
        </pc:spChg>
        <pc:spChg chg="mod ord">
          <ac:chgData name="Pytlíček Zdeněk" userId="f1b96d20-667b-444a-b19d-4ff707ea1486" providerId="ADAL" clId="{4B050CFC-5B60-4CB0-90C1-6B3AA2BC9A6B}" dt="2024-09-16T11:30:54.851" v="759" actId="1036"/>
          <ac:spMkLst>
            <pc:docMk/>
            <pc:sldMk cId="3081572716" sldId="2147483586"/>
            <ac:spMk id="4" creationId="{F3B76FA9-F0A5-4FD8-3631-D31BF0B3F9D2}"/>
          </ac:spMkLst>
        </pc:spChg>
        <pc:spChg chg="mod">
          <ac:chgData name="Pytlíček Zdeněk" userId="f1b96d20-667b-444a-b19d-4ff707ea1486" providerId="ADAL" clId="{4B050CFC-5B60-4CB0-90C1-6B3AA2BC9A6B}" dt="2024-09-16T11:30:50.668" v="758" actId="1035"/>
          <ac:spMkLst>
            <pc:docMk/>
            <pc:sldMk cId="3081572716" sldId="2147483586"/>
            <ac:spMk id="6" creationId="{ED73500A-1872-D8A8-C9DC-32DF67272440}"/>
          </ac:spMkLst>
        </pc:spChg>
        <pc:spChg chg="mod ord">
          <ac:chgData name="Pytlíček Zdeněk" userId="f1b96d20-667b-444a-b19d-4ff707ea1486" providerId="ADAL" clId="{4B050CFC-5B60-4CB0-90C1-6B3AA2BC9A6B}" dt="2024-09-17T10:13:04.741" v="1464" actId="20577"/>
          <ac:spMkLst>
            <pc:docMk/>
            <pc:sldMk cId="3081572716" sldId="2147483586"/>
            <ac:spMk id="24" creationId="{00000000-0000-0000-0000-000000000000}"/>
          </ac:spMkLst>
        </pc:spChg>
        <pc:graphicFrameChg chg="add mod modGraphic">
          <ac:chgData name="Pytlíček Zdeněk" userId="f1b96d20-667b-444a-b19d-4ff707ea1486" providerId="ADAL" clId="{4B050CFC-5B60-4CB0-90C1-6B3AA2BC9A6B}" dt="2024-09-17T06:49:26.590" v="808" actId="1038"/>
          <ac:graphicFrameMkLst>
            <pc:docMk/>
            <pc:sldMk cId="3081572716" sldId="2147483586"/>
            <ac:graphicFrameMk id="9" creationId="{A7EA9C1E-457D-0606-C1ED-F0D44FD3CBE3}"/>
          </ac:graphicFrameMkLst>
        </pc:graphicFrameChg>
        <pc:graphicFrameChg chg="del mod">
          <ac:chgData name="Pytlíček Zdeněk" userId="f1b96d20-667b-444a-b19d-4ff707ea1486" providerId="ADAL" clId="{4B050CFC-5B60-4CB0-90C1-6B3AA2BC9A6B}" dt="2024-09-16T11:27:48.493" v="731" actId="478"/>
          <ac:graphicFrameMkLst>
            <pc:docMk/>
            <pc:sldMk cId="3081572716" sldId="2147483586"/>
            <ac:graphicFrameMk id="9" creationId="{DE0FEE03-95B9-ECF0-AD31-9406C1BF0C4D}"/>
          </ac:graphicFrameMkLst>
        </pc:graphicFrameChg>
        <pc:graphicFrameChg chg="del mod">
          <ac:chgData name="Pytlíček Zdeněk" userId="f1b96d20-667b-444a-b19d-4ff707ea1486" providerId="ADAL" clId="{4B050CFC-5B60-4CB0-90C1-6B3AA2BC9A6B}" dt="2024-09-16T11:27:50.030" v="732" actId="478"/>
          <ac:graphicFrameMkLst>
            <pc:docMk/>
            <pc:sldMk cId="3081572716" sldId="2147483586"/>
            <ac:graphicFrameMk id="11" creationId="{00EC8DB8-25D6-3524-5637-BB2DBE4DCC1E}"/>
          </ac:graphicFrameMkLst>
        </pc:graphicFrameChg>
        <pc:graphicFrameChg chg="add mod modGraphic">
          <ac:chgData name="Pytlíček Zdeněk" userId="f1b96d20-667b-444a-b19d-4ff707ea1486" providerId="ADAL" clId="{4B050CFC-5B60-4CB0-90C1-6B3AA2BC9A6B}" dt="2024-09-17T06:49:26.590" v="808" actId="1038"/>
          <ac:graphicFrameMkLst>
            <pc:docMk/>
            <pc:sldMk cId="3081572716" sldId="2147483586"/>
            <ac:graphicFrameMk id="12" creationId="{FD552272-9408-991A-F91F-57F4EC20F333}"/>
          </ac:graphicFrameMkLst>
        </pc:graphicFrameChg>
        <pc:graphicFrameChg chg="del mod">
          <ac:chgData name="Pytlíček Zdeněk" userId="f1b96d20-667b-444a-b19d-4ff707ea1486" providerId="ADAL" clId="{4B050CFC-5B60-4CB0-90C1-6B3AA2BC9A6B}" dt="2024-09-16T11:27:50.838" v="733" actId="478"/>
          <ac:graphicFrameMkLst>
            <pc:docMk/>
            <pc:sldMk cId="3081572716" sldId="2147483586"/>
            <ac:graphicFrameMk id="13" creationId="{5338DAFA-4962-9EB1-6E34-00B1C3AD7703}"/>
          </ac:graphicFrameMkLst>
        </pc:graphicFrameChg>
        <pc:graphicFrameChg chg="add mod modGraphic">
          <ac:chgData name="Pytlíček Zdeněk" userId="f1b96d20-667b-444a-b19d-4ff707ea1486" providerId="ADAL" clId="{4B050CFC-5B60-4CB0-90C1-6B3AA2BC9A6B}" dt="2024-09-17T06:49:26.590" v="808" actId="1038"/>
          <ac:graphicFrameMkLst>
            <pc:docMk/>
            <pc:sldMk cId="3081572716" sldId="2147483586"/>
            <ac:graphicFrameMk id="14" creationId="{D6163882-3AB9-847B-892B-61136D563664}"/>
          </ac:graphicFrameMkLst>
        </pc:graphicFrameChg>
        <pc:picChg chg="del">
          <ac:chgData name="Pytlíček Zdeněk" userId="f1b96d20-667b-444a-b19d-4ff707ea1486" providerId="ADAL" clId="{4B050CFC-5B60-4CB0-90C1-6B3AA2BC9A6B}" dt="2024-09-16T11:23:15.261" v="642" actId="478"/>
          <ac:picMkLst>
            <pc:docMk/>
            <pc:sldMk cId="3081572716" sldId="2147483586"/>
            <ac:picMk id="2" creationId="{DA031B4F-6125-C27E-806B-93AD0EED212A}"/>
          </ac:picMkLst>
        </pc:picChg>
        <pc:picChg chg="add del mod">
          <ac:chgData name="Pytlíček Zdeněk" userId="f1b96d20-667b-444a-b19d-4ff707ea1486" providerId="ADAL" clId="{4B050CFC-5B60-4CB0-90C1-6B3AA2BC9A6B}" dt="2024-09-17T06:47:09.454" v="791" actId="478"/>
          <ac:picMkLst>
            <pc:docMk/>
            <pc:sldMk cId="3081572716" sldId="2147483586"/>
            <ac:picMk id="3" creationId="{45BF4558-3EA2-6CE2-CB37-9FD84A4E81E4}"/>
          </ac:picMkLst>
        </pc:picChg>
        <pc:picChg chg="del">
          <ac:chgData name="Pytlíček Zdeněk" userId="f1b96d20-667b-444a-b19d-4ff707ea1486" providerId="ADAL" clId="{4B050CFC-5B60-4CB0-90C1-6B3AA2BC9A6B}" dt="2024-09-16T11:23:18.486" v="643" actId="478"/>
          <ac:picMkLst>
            <pc:docMk/>
            <pc:sldMk cId="3081572716" sldId="2147483586"/>
            <ac:picMk id="5" creationId="{B46901F1-E714-8927-EBDB-A6ED12A148FC}"/>
          </ac:picMkLst>
        </pc:picChg>
        <pc:picChg chg="add del mod">
          <ac:chgData name="Pytlíček Zdeněk" userId="f1b96d20-667b-444a-b19d-4ff707ea1486" providerId="ADAL" clId="{4B050CFC-5B60-4CB0-90C1-6B3AA2BC9A6B}" dt="2024-09-17T06:48:23.153" v="793" actId="478"/>
          <ac:picMkLst>
            <pc:docMk/>
            <pc:sldMk cId="3081572716" sldId="2147483586"/>
            <ac:picMk id="7" creationId="{F082E0C7-755B-5710-6BD1-F7DAF16211D6}"/>
          </ac:picMkLst>
        </pc:picChg>
        <pc:picChg chg="add del mod">
          <ac:chgData name="Pytlíček Zdeněk" userId="f1b96d20-667b-444a-b19d-4ff707ea1486" providerId="ADAL" clId="{4B050CFC-5B60-4CB0-90C1-6B3AA2BC9A6B}" dt="2024-09-17T06:48:27.900" v="795" actId="478"/>
          <ac:picMkLst>
            <pc:docMk/>
            <pc:sldMk cId="3081572716" sldId="2147483586"/>
            <ac:picMk id="8" creationId="{CC9FBFE2-0735-6B73-4D4C-4D93E9CB1B8C}"/>
          </ac:picMkLst>
        </pc:picChg>
        <pc:picChg chg="add del mod">
          <ac:chgData name="Pytlíček Zdeněk" userId="f1b96d20-667b-444a-b19d-4ff707ea1486" providerId="ADAL" clId="{4B050CFC-5B60-4CB0-90C1-6B3AA2BC9A6B}" dt="2024-09-17T06:48:28.868" v="796" actId="478"/>
          <ac:picMkLst>
            <pc:docMk/>
            <pc:sldMk cId="3081572716" sldId="2147483586"/>
            <ac:picMk id="10" creationId="{27F4B1EB-EC3F-61A1-D6A0-DA1D130157C6}"/>
          </ac:picMkLst>
        </pc:picChg>
      </pc:sldChg>
      <pc:sldChg chg="delSp modSp add mod modTransition modClrScheme chgLayout">
        <pc:chgData name="Pytlíček Zdeněk" userId="f1b96d20-667b-444a-b19d-4ff707ea1486" providerId="ADAL" clId="{4B050CFC-5B60-4CB0-90C1-6B3AA2BC9A6B}" dt="2024-09-16T11:41:05.711" v="769"/>
        <pc:sldMkLst>
          <pc:docMk/>
          <pc:sldMk cId="3958166420" sldId="2147483587"/>
        </pc:sldMkLst>
        <pc:spChg chg="del">
          <ac:chgData name="Pytlíček Zdeněk" userId="f1b96d20-667b-444a-b19d-4ff707ea1486" providerId="ADAL" clId="{4B050CFC-5B60-4CB0-90C1-6B3AA2BC9A6B}" dt="2024-09-16T11:27:08.317" v="713" actId="478"/>
          <ac:spMkLst>
            <pc:docMk/>
            <pc:sldMk cId="3958166420" sldId="2147483587"/>
            <ac:spMk id="3" creationId="{8638FC64-CA73-F5DD-2125-958A4F215CB5}"/>
          </ac:spMkLst>
        </pc:spChg>
        <pc:spChg chg="mod ord">
          <ac:chgData name="Pytlíček Zdeněk" userId="f1b96d20-667b-444a-b19d-4ff707ea1486" providerId="ADAL" clId="{4B050CFC-5B60-4CB0-90C1-6B3AA2BC9A6B}" dt="2024-09-16T11:27:34.261" v="729" actId="1037"/>
          <ac:spMkLst>
            <pc:docMk/>
            <pc:sldMk cId="3958166420" sldId="2147483587"/>
            <ac:spMk id="11" creationId="{BF229B08-066C-D4E9-CF30-AA2B50309793}"/>
          </ac:spMkLst>
        </pc:spChg>
        <pc:picChg chg="del">
          <ac:chgData name="Pytlíček Zdeněk" userId="f1b96d20-667b-444a-b19d-4ff707ea1486" providerId="ADAL" clId="{4B050CFC-5B60-4CB0-90C1-6B3AA2BC9A6B}" dt="2024-09-16T11:27:09.053" v="714" actId="478"/>
          <ac:picMkLst>
            <pc:docMk/>
            <pc:sldMk cId="3958166420" sldId="2147483587"/>
            <ac:picMk id="2" creationId="{5D856416-5777-37EB-7BF2-E1DEA78AA2E6}"/>
          </ac:picMkLst>
        </pc:picChg>
        <pc:picChg chg="del">
          <ac:chgData name="Pytlíček Zdeněk" userId="f1b96d20-667b-444a-b19d-4ff707ea1486" providerId="ADAL" clId="{4B050CFC-5B60-4CB0-90C1-6B3AA2BC9A6B}" dt="2024-09-16T11:27:10.420" v="715" actId="478"/>
          <ac:picMkLst>
            <pc:docMk/>
            <pc:sldMk cId="3958166420" sldId="2147483587"/>
            <ac:picMk id="4" creationId="{3ED63598-2DDB-6951-A6BA-2F123BE04437}"/>
          </ac:picMkLst>
        </pc:picChg>
      </pc:sldChg>
      <pc:sldChg chg="delSp modSp add mod modClrScheme chgLayout">
        <pc:chgData name="Pytlíček Zdeněk" userId="f1b96d20-667b-444a-b19d-4ff707ea1486" providerId="ADAL" clId="{4B050CFC-5B60-4CB0-90C1-6B3AA2BC9A6B}" dt="2024-09-16T11:26:07.901" v="698" actId="1037"/>
        <pc:sldMkLst>
          <pc:docMk/>
          <pc:sldMk cId="413524710" sldId="2147483588"/>
        </pc:sldMkLst>
        <pc:spChg chg="del">
          <ac:chgData name="Pytlíček Zdeněk" userId="f1b96d20-667b-444a-b19d-4ff707ea1486" providerId="ADAL" clId="{4B050CFC-5B60-4CB0-90C1-6B3AA2BC9A6B}" dt="2024-09-16T11:24:38.001" v="673" actId="478"/>
          <ac:spMkLst>
            <pc:docMk/>
            <pc:sldMk cId="413524710" sldId="2147483588"/>
            <ac:spMk id="3" creationId="{3995759D-F382-63F6-BBAD-B5E24D762111}"/>
          </ac:spMkLst>
        </pc:spChg>
        <pc:spChg chg="mod ord">
          <ac:chgData name="Pytlíček Zdeněk" userId="f1b96d20-667b-444a-b19d-4ff707ea1486" providerId="ADAL" clId="{4B050CFC-5B60-4CB0-90C1-6B3AA2BC9A6B}" dt="2024-09-16T11:26:07.901" v="698" actId="1037"/>
          <ac:spMkLst>
            <pc:docMk/>
            <pc:sldMk cId="413524710" sldId="2147483588"/>
            <ac:spMk id="24" creationId="{00000000-0000-0000-0000-000000000000}"/>
          </ac:spMkLst>
        </pc:spChg>
        <pc:picChg chg="del">
          <ac:chgData name="Pytlíček Zdeněk" userId="f1b96d20-667b-444a-b19d-4ff707ea1486" providerId="ADAL" clId="{4B050CFC-5B60-4CB0-90C1-6B3AA2BC9A6B}" dt="2024-09-16T11:24:38.920" v="674" actId="478"/>
          <ac:picMkLst>
            <pc:docMk/>
            <pc:sldMk cId="413524710" sldId="2147483588"/>
            <ac:picMk id="2" creationId="{BA522B97-9D0B-2DDC-28C4-A35E3EE12D81}"/>
          </ac:picMkLst>
        </pc:picChg>
        <pc:picChg chg="del">
          <ac:chgData name="Pytlíček Zdeněk" userId="f1b96d20-667b-444a-b19d-4ff707ea1486" providerId="ADAL" clId="{4B050CFC-5B60-4CB0-90C1-6B3AA2BC9A6B}" dt="2024-09-16T11:24:40.224" v="675" actId="478"/>
          <ac:picMkLst>
            <pc:docMk/>
            <pc:sldMk cId="413524710" sldId="2147483588"/>
            <ac:picMk id="4" creationId="{553A90DA-08F2-7F2B-F97C-D7CA6B980900}"/>
          </ac:picMkLst>
        </pc:picChg>
      </pc:sldChg>
      <pc:sldChg chg="delSp modSp add mod modClrScheme chgLayout">
        <pc:chgData name="Pytlíček Zdeněk" userId="f1b96d20-667b-444a-b19d-4ff707ea1486" providerId="ADAL" clId="{4B050CFC-5B60-4CB0-90C1-6B3AA2BC9A6B}" dt="2024-09-16T11:26:49.476" v="712" actId="1038"/>
        <pc:sldMkLst>
          <pc:docMk/>
          <pc:sldMk cId="3198726984" sldId="2147483589"/>
        </pc:sldMkLst>
        <pc:spChg chg="del">
          <ac:chgData name="Pytlíček Zdeněk" userId="f1b96d20-667b-444a-b19d-4ff707ea1486" providerId="ADAL" clId="{4B050CFC-5B60-4CB0-90C1-6B3AA2BC9A6B}" dt="2024-09-16T11:26:30.725" v="700" actId="478"/>
          <ac:spMkLst>
            <pc:docMk/>
            <pc:sldMk cId="3198726984" sldId="2147483589"/>
            <ac:spMk id="4" creationId="{657E4684-2DED-4F43-CDC8-435C395B35E9}"/>
          </ac:spMkLst>
        </pc:spChg>
        <pc:spChg chg="mod ord">
          <ac:chgData name="Pytlíček Zdeněk" userId="f1b96d20-667b-444a-b19d-4ff707ea1486" providerId="ADAL" clId="{4B050CFC-5B60-4CB0-90C1-6B3AA2BC9A6B}" dt="2024-09-16T11:26:49.476" v="712" actId="1038"/>
          <ac:spMkLst>
            <pc:docMk/>
            <pc:sldMk cId="3198726984" sldId="2147483589"/>
            <ac:spMk id="12" creationId="{4757B15F-F973-4F1D-EE8F-BF362543652D}"/>
          </ac:spMkLst>
        </pc:spChg>
        <pc:picChg chg="del">
          <ac:chgData name="Pytlíček Zdeněk" userId="f1b96d20-667b-444a-b19d-4ff707ea1486" providerId="ADAL" clId="{4B050CFC-5B60-4CB0-90C1-6B3AA2BC9A6B}" dt="2024-09-16T11:26:31.442" v="701" actId="478"/>
          <ac:picMkLst>
            <pc:docMk/>
            <pc:sldMk cId="3198726984" sldId="2147483589"/>
            <ac:picMk id="3" creationId="{B4EC0DD1-FFF6-7E8F-0616-43D2CC565205}"/>
          </ac:picMkLst>
        </pc:picChg>
        <pc:picChg chg="del">
          <ac:chgData name="Pytlíček Zdeněk" userId="f1b96d20-667b-444a-b19d-4ff707ea1486" providerId="ADAL" clId="{4B050CFC-5B60-4CB0-90C1-6B3AA2BC9A6B}" dt="2024-09-16T11:26:32.700" v="702" actId="478"/>
          <ac:picMkLst>
            <pc:docMk/>
            <pc:sldMk cId="3198726984" sldId="2147483589"/>
            <ac:picMk id="5" creationId="{79CABAF5-9E87-CCCE-9C5A-2C4EE86E22F0}"/>
          </ac:picMkLst>
        </pc:picChg>
      </pc:sldChg>
      <pc:sldChg chg="addSp delSp modSp add mod ord">
        <pc:chgData name="Pytlíček Zdeněk" userId="f1b96d20-667b-444a-b19d-4ff707ea1486" providerId="ADAL" clId="{4B050CFC-5B60-4CB0-90C1-6B3AA2BC9A6B}" dt="2024-09-17T10:13:13.102" v="1467" actId="20577"/>
        <pc:sldMkLst>
          <pc:docMk/>
          <pc:sldMk cId="3350207810" sldId="2147483590"/>
        </pc:sldMkLst>
        <pc:spChg chg="mod">
          <ac:chgData name="Pytlíček Zdeněk" userId="f1b96d20-667b-444a-b19d-4ff707ea1486" providerId="ADAL" clId="{4B050CFC-5B60-4CB0-90C1-6B3AA2BC9A6B}" dt="2024-09-17T10:06:01.898" v="1451"/>
          <ac:spMkLst>
            <pc:docMk/>
            <pc:sldMk cId="3350207810" sldId="2147483590"/>
            <ac:spMk id="6" creationId="{ED73500A-1872-D8A8-C9DC-32DF67272440}"/>
          </ac:spMkLst>
        </pc:spChg>
        <pc:spChg chg="mod">
          <ac:chgData name="Pytlíček Zdeněk" userId="f1b96d20-667b-444a-b19d-4ff707ea1486" providerId="ADAL" clId="{4B050CFC-5B60-4CB0-90C1-6B3AA2BC9A6B}" dt="2024-09-17T10:13:13.102" v="1467" actId="20577"/>
          <ac:spMkLst>
            <pc:docMk/>
            <pc:sldMk cId="3350207810" sldId="2147483590"/>
            <ac:spMk id="24" creationId="{00000000-0000-0000-0000-000000000000}"/>
          </ac:spMkLst>
        </pc:spChg>
        <pc:graphicFrameChg chg="add mod modGraphic">
          <ac:chgData name="Pytlíček Zdeněk" userId="f1b96d20-667b-444a-b19d-4ff707ea1486" providerId="ADAL" clId="{4B050CFC-5B60-4CB0-90C1-6B3AA2BC9A6B}" dt="2024-09-17T10:11:41.516" v="1459" actId="1076"/>
          <ac:graphicFrameMkLst>
            <pc:docMk/>
            <pc:sldMk cId="3350207810" sldId="2147483590"/>
            <ac:graphicFrameMk id="3" creationId="{3F84C80D-87C2-39AA-B05D-15668A87D3CF}"/>
          </ac:graphicFrameMkLst>
        </pc:graphicFrameChg>
        <pc:graphicFrameChg chg="add mod modGraphic">
          <ac:chgData name="Pytlíček Zdeněk" userId="f1b96d20-667b-444a-b19d-4ff707ea1486" providerId="ADAL" clId="{4B050CFC-5B60-4CB0-90C1-6B3AA2BC9A6B}" dt="2024-09-17T10:11:45.401" v="1460" actId="1076"/>
          <ac:graphicFrameMkLst>
            <pc:docMk/>
            <pc:sldMk cId="3350207810" sldId="2147483590"/>
            <ac:graphicFrameMk id="7" creationId="{D7F12BD2-E354-2165-B663-B0CD9AE436D3}"/>
          </ac:graphicFrameMkLst>
        </pc:graphicFrameChg>
        <pc:graphicFrameChg chg="del">
          <ac:chgData name="Pytlíček Zdeněk" userId="f1b96d20-667b-444a-b19d-4ff707ea1486" providerId="ADAL" clId="{4B050CFC-5B60-4CB0-90C1-6B3AA2BC9A6B}" dt="2024-09-17T09:59:25.468" v="1182" actId="478"/>
          <ac:graphicFrameMkLst>
            <pc:docMk/>
            <pc:sldMk cId="3350207810" sldId="2147483590"/>
            <ac:graphicFrameMk id="9" creationId="{A7EA9C1E-457D-0606-C1ED-F0D44FD3CBE3}"/>
          </ac:graphicFrameMkLst>
        </pc:graphicFrameChg>
        <pc:graphicFrameChg chg="add mod modGraphic">
          <ac:chgData name="Pytlíček Zdeněk" userId="f1b96d20-667b-444a-b19d-4ff707ea1486" providerId="ADAL" clId="{4B050CFC-5B60-4CB0-90C1-6B3AA2BC9A6B}" dt="2024-09-17T10:11:55.041" v="1461" actId="1076"/>
          <ac:graphicFrameMkLst>
            <pc:docMk/>
            <pc:sldMk cId="3350207810" sldId="2147483590"/>
            <ac:graphicFrameMk id="10" creationId="{5AB19A99-2CCA-DE87-D8AE-EC16D6FDD902}"/>
          </ac:graphicFrameMkLst>
        </pc:graphicFrameChg>
        <pc:graphicFrameChg chg="del">
          <ac:chgData name="Pytlíček Zdeněk" userId="f1b96d20-667b-444a-b19d-4ff707ea1486" providerId="ADAL" clId="{4B050CFC-5B60-4CB0-90C1-6B3AA2BC9A6B}" dt="2024-09-17T09:59:26.378" v="1183" actId="478"/>
          <ac:graphicFrameMkLst>
            <pc:docMk/>
            <pc:sldMk cId="3350207810" sldId="2147483590"/>
            <ac:graphicFrameMk id="12" creationId="{FD552272-9408-991A-F91F-57F4EC20F333}"/>
          </ac:graphicFrameMkLst>
        </pc:graphicFrameChg>
        <pc:graphicFrameChg chg="del">
          <ac:chgData name="Pytlíček Zdeněk" userId="f1b96d20-667b-444a-b19d-4ff707ea1486" providerId="ADAL" clId="{4B050CFC-5B60-4CB0-90C1-6B3AA2BC9A6B}" dt="2024-09-17T09:59:27.362" v="1184" actId="478"/>
          <ac:graphicFrameMkLst>
            <pc:docMk/>
            <pc:sldMk cId="3350207810" sldId="2147483590"/>
            <ac:graphicFrameMk id="14" creationId="{D6163882-3AB9-847B-892B-61136D563664}"/>
          </ac:graphicFrameMkLst>
        </pc:graphicFrameChg>
      </pc:sldChg>
      <pc:sldChg chg="addSp delSp modSp add mod ord">
        <pc:chgData name="Pytlíček Zdeněk" userId="f1b96d20-667b-444a-b19d-4ff707ea1486" providerId="ADAL" clId="{4B050CFC-5B60-4CB0-90C1-6B3AA2BC9A6B}" dt="2024-09-17T10:01:55.744" v="1263" actId="14100"/>
        <pc:sldMkLst>
          <pc:docMk/>
          <pc:sldMk cId="1808912403" sldId="2147483591"/>
        </pc:sldMkLst>
        <pc:spChg chg="del">
          <ac:chgData name="Pytlíček Zdeněk" userId="f1b96d20-667b-444a-b19d-4ff707ea1486" providerId="ADAL" clId="{4B050CFC-5B60-4CB0-90C1-6B3AA2BC9A6B}" dt="2024-09-17T09:59:02.273" v="1176" actId="478"/>
          <ac:spMkLst>
            <pc:docMk/>
            <pc:sldMk cId="1808912403" sldId="2147483591"/>
            <ac:spMk id="6" creationId="{6EF05CD0-93AE-8251-A265-7A40AD381047}"/>
          </ac:spMkLst>
        </pc:spChg>
        <pc:spChg chg="del">
          <ac:chgData name="Pytlíček Zdeněk" userId="f1b96d20-667b-444a-b19d-4ff707ea1486" providerId="ADAL" clId="{4B050CFC-5B60-4CB0-90C1-6B3AA2BC9A6B}" dt="2024-09-17T09:59:03.450" v="1177" actId="478"/>
          <ac:spMkLst>
            <pc:docMk/>
            <pc:sldMk cId="1808912403" sldId="2147483591"/>
            <ac:spMk id="7" creationId="{C44292F9-C6AC-D513-5E35-C190A7AC87C8}"/>
          </ac:spMkLst>
        </pc:spChg>
        <pc:spChg chg="mod">
          <ac:chgData name="Pytlíček Zdeněk" userId="f1b96d20-667b-444a-b19d-4ff707ea1486" providerId="ADAL" clId="{4B050CFC-5B60-4CB0-90C1-6B3AA2BC9A6B}" dt="2024-09-17T10:00:32.501" v="1245" actId="20577"/>
          <ac:spMkLst>
            <pc:docMk/>
            <pc:sldMk cId="1808912403" sldId="2147483591"/>
            <ac:spMk id="12" creationId="{4757B15F-F973-4F1D-EE8F-BF362543652D}"/>
          </ac:spMkLst>
        </pc:spChg>
        <pc:picChg chg="del">
          <ac:chgData name="Pytlíček Zdeněk" userId="f1b96d20-667b-444a-b19d-4ff707ea1486" providerId="ADAL" clId="{4B050CFC-5B60-4CB0-90C1-6B3AA2BC9A6B}" dt="2024-09-17T09:58:59.041" v="1175" actId="478"/>
          <ac:picMkLst>
            <pc:docMk/>
            <pc:sldMk cId="1808912403" sldId="2147483591"/>
            <ac:picMk id="2" creationId="{B5FBD246-6C67-DA0F-CB8B-D54FAC65035F}"/>
          </ac:picMkLst>
        </pc:picChg>
        <pc:picChg chg="add mod">
          <ac:chgData name="Pytlíček Zdeněk" userId="f1b96d20-667b-444a-b19d-4ff707ea1486" providerId="ADAL" clId="{4B050CFC-5B60-4CB0-90C1-6B3AA2BC9A6B}" dt="2024-09-17T10:01:10.741" v="1255" actId="1035"/>
          <ac:picMkLst>
            <pc:docMk/>
            <pc:sldMk cId="1808912403" sldId="2147483591"/>
            <ac:picMk id="4" creationId="{2A149966-2D09-D77B-28FC-ECCBD6ED54B3}"/>
          </ac:picMkLst>
        </pc:picChg>
        <pc:picChg chg="add mod modCrop">
          <ac:chgData name="Pytlíček Zdeněk" userId="f1b96d20-667b-444a-b19d-4ff707ea1486" providerId="ADAL" clId="{4B050CFC-5B60-4CB0-90C1-6B3AA2BC9A6B}" dt="2024-09-17T10:01:55.744" v="1263" actId="14100"/>
          <ac:picMkLst>
            <pc:docMk/>
            <pc:sldMk cId="1808912403" sldId="2147483591"/>
            <ac:picMk id="8" creationId="{68E081C2-7E19-DF81-277B-1B399C96E99F}"/>
          </ac:picMkLst>
        </pc:picChg>
      </pc:sldChg>
      <pc:sldChg chg="addSp modSp add mod">
        <pc:chgData name="Pytlíček Zdeněk" userId="f1b96d20-667b-444a-b19d-4ff707ea1486" providerId="ADAL" clId="{4B050CFC-5B60-4CB0-90C1-6B3AA2BC9A6B}" dt="2024-09-17T10:03:28.075" v="1336" actId="20577"/>
        <pc:sldMkLst>
          <pc:docMk/>
          <pc:sldMk cId="3382971070" sldId="2147483592"/>
        </pc:sldMkLst>
        <pc:spChg chg="mod">
          <ac:chgData name="Pytlíček Zdeněk" userId="f1b96d20-667b-444a-b19d-4ff707ea1486" providerId="ADAL" clId="{4B050CFC-5B60-4CB0-90C1-6B3AA2BC9A6B}" dt="2024-09-17T10:03:28.075" v="1336" actId="20577"/>
          <ac:spMkLst>
            <pc:docMk/>
            <pc:sldMk cId="3382971070" sldId="2147483592"/>
            <ac:spMk id="12" creationId="{4757B15F-F973-4F1D-EE8F-BF362543652D}"/>
          </ac:spMkLst>
        </pc:spChg>
        <pc:picChg chg="add mod">
          <ac:chgData name="Pytlíček Zdeněk" userId="f1b96d20-667b-444a-b19d-4ff707ea1486" providerId="ADAL" clId="{4B050CFC-5B60-4CB0-90C1-6B3AA2BC9A6B}" dt="2024-09-17T10:02:31.656" v="1268" actId="1076"/>
          <ac:picMkLst>
            <pc:docMk/>
            <pc:sldMk cId="3382971070" sldId="2147483592"/>
            <ac:picMk id="3" creationId="{F3FC9AE5-CB0C-D7D1-81E8-8FCB6F519259}"/>
          </ac:picMkLst>
        </pc:picChg>
      </pc:sldChg>
      <pc:sldChg chg="addSp modSp add mod">
        <pc:chgData name="Pytlíček Zdeněk" userId="f1b96d20-667b-444a-b19d-4ff707ea1486" providerId="ADAL" clId="{4B050CFC-5B60-4CB0-90C1-6B3AA2BC9A6B}" dt="2024-09-17T10:05:37.891" v="1450" actId="14100"/>
        <pc:sldMkLst>
          <pc:docMk/>
          <pc:sldMk cId="1072487974" sldId="2147483593"/>
        </pc:sldMkLst>
        <pc:spChg chg="mod">
          <ac:chgData name="Pytlíček Zdeněk" userId="f1b96d20-667b-444a-b19d-4ff707ea1486" providerId="ADAL" clId="{4B050CFC-5B60-4CB0-90C1-6B3AA2BC9A6B}" dt="2024-09-17T10:05:14.405" v="1445" actId="20577"/>
          <ac:spMkLst>
            <pc:docMk/>
            <pc:sldMk cId="1072487974" sldId="2147483593"/>
            <ac:spMk id="12" creationId="{4757B15F-F973-4F1D-EE8F-BF362543652D}"/>
          </ac:spMkLst>
        </pc:spChg>
        <pc:picChg chg="add mod">
          <ac:chgData name="Pytlíček Zdeněk" userId="f1b96d20-667b-444a-b19d-4ff707ea1486" providerId="ADAL" clId="{4B050CFC-5B60-4CB0-90C1-6B3AA2BC9A6B}" dt="2024-09-17T10:05:37.891" v="1450" actId="14100"/>
          <ac:picMkLst>
            <pc:docMk/>
            <pc:sldMk cId="1072487974" sldId="2147483593"/>
            <ac:picMk id="3" creationId="{6DC60929-2DA1-8155-9D44-F93E6941B694}"/>
          </ac:picMkLst>
        </pc:picChg>
      </pc:sldChg>
      <pc:sldChg chg="addSp delSp modSp add mod ord">
        <pc:chgData name="Pytlíček Zdeněk" userId="f1b96d20-667b-444a-b19d-4ff707ea1486" providerId="ADAL" clId="{4B050CFC-5B60-4CB0-90C1-6B3AA2BC9A6B}" dt="2024-09-17T10:20:07.301" v="1676" actId="1076"/>
        <pc:sldMkLst>
          <pc:docMk/>
          <pc:sldMk cId="4087775555" sldId="2147483594"/>
        </pc:sldMkLst>
        <pc:spChg chg="mod">
          <ac:chgData name="Pytlíček Zdeněk" userId="f1b96d20-667b-444a-b19d-4ff707ea1486" providerId="ADAL" clId="{4B050CFC-5B60-4CB0-90C1-6B3AA2BC9A6B}" dt="2024-09-17T10:19:07.667" v="1667" actId="1036"/>
          <ac:spMkLst>
            <pc:docMk/>
            <pc:sldMk cId="4087775555" sldId="2147483594"/>
            <ac:spMk id="4" creationId="{F3B76FA9-F0A5-4FD8-3631-D31BF0B3F9D2}"/>
          </ac:spMkLst>
        </pc:spChg>
        <pc:spChg chg="mod">
          <ac:chgData name="Pytlíček Zdeněk" userId="f1b96d20-667b-444a-b19d-4ff707ea1486" providerId="ADAL" clId="{4B050CFC-5B60-4CB0-90C1-6B3AA2BC9A6B}" dt="2024-09-17T10:19:00.336" v="1665" actId="14100"/>
          <ac:spMkLst>
            <pc:docMk/>
            <pc:sldMk cId="4087775555" sldId="2147483594"/>
            <ac:spMk id="6" creationId="{ED73500A-1872-D8A8-C9DC-32DF67272440}"/>
          </ac:spMkLst>
        </pc:spChg>
        <pc:spChg chg="mod">
          <ac:chgData name="Pytlíček Zdeněk" userId="f1b96d20-667b-444a-b19d-4ff707ea1486" providerId="ADAL" clId="{4B050CFC-5B60-4CB0-90C1-6B3AA2BC9A6B}" dt="2024-09-17T10:14:12.583" v="1481" actId="20577"/>
          <ac:spMkLst>
            <pc:docMk/>
            <pc:sldMk cId="4087775555" sldId="2147483594"/>
            <ac:spMk id="24" creationId="{00000000-0000-0000-0000-000000000000}"/>
          </ac:spMkLst>
        </pc:spChg>
        <pc:graphicFrameChg chg="del">
          <ac:chgData name="Pytlíček Zdeněk" userId="f1b96d20-667b-444a-b19d-4ff707ea1486" providerId="ADAL" clId="{4B050CFC-5B60-4CB0-90C1-6B3AA2BC9A6B}" dt="2024-09-17T10:13:39.413" v="1474" actId="478"/>
          <ac:graphicFrameMkLst>
            <pc:docMk/>
            <pc:sldMk cId="4087775555" sldId="2147483594"/>
            <ac:graphicFrameMk id="3" creationId="{3F84C80D-87C2-39AA-B05D-15668A87D3CF}"/>
          </ac:graphicFrameMkLst>
        </pc:graphicFrameChg>
        <pc:graphicFrameChg chg="add mod modGraphic">
          <ac:chgData name="Pytlíček Zdeněk" userId="f1b96d20-667b-444a-b19d-4ff707ea1486" providerId="ADAL" clId="{4B050CFC-5B60-4CB0-90C1-6B3AA2BC9A6B}" dt="2024-09-17T10:20:07.301" v="1676" actId="1076"/>
          <ac:graphicFrameMkLst>
            <pc:docMk/>
            <pc:sldMk cId="4087775555" sldId="2147483594"/>
            <ac:graphicFrameMk id="5" creationId="{BA86BE3D-45E3-0B07-FF5C-1B8AD5169AC0}"/>
          </ac:graphicFrameMkLst>
        </pc:graphicFrameChg>
        <pc:graphicFrameChg chg="del mod">
          <ac:chgData name="Pytlíček Zdeněk" userId="f1b96d20-667b-444a-b19d-4ff707ea1486" providerId="ADAL" clId="{4B050CFC-5B60-4CB0-90C1-6B3AA2BC9A6B}" dt="2024-09-17T10:13:40.311" v="1476" actId="478"/>
          <ac:graphicFrameMkLst>
            <pc:docMk/>
            <pc:sldMk cId="4087775555" sldId="2147483594"/>
            <ac:graphicFrameMk id="7" creationId="{D7F12BD2-E354-2165-B663-B0CD9AE436D3}"/>
          </ac:graphicFrameMkLst>
        </pc:graphicFrameChg>
        <pc:graphicFrameChg chg="add mod modGraphic">
          <ac:chgData name="Pytlíček Zdeněk" userId="f1b96d20-667b-444a-b19d-4ff707ea1486" providerId="ADAL" clId="{4B050CFC-5B60-4CB0-90C1-6B3AA2BC9A6B}" dt="2024-09-17T10:19:54.120" v="1674" actId="1076"/>
          <ac:graphicFrameMkLst>
            <pc:docMk/>
            <pc:sldMk cId="4087775555" sldId="2147483594"/>
            <ac:graphicFrameMk id="9" creationId="{13957F55-9993-C6DC-6012-991C63EB2ED5}"/>
          </ac:graphicFrameMkLst>
        </pc:graphicFrameChg>
        <pc:graphicFrameChg chg="del">
          <ac:chgData name="Pytlíček Zdeněk" userId="f1b96d20-667b-444a-b19d-4ff707ea1486" providerId="ADAL" clId="{4B050CFC-5B60-4CB0-90C1-6B3AA2BC9A6B}" dt="2024-09-17T10:13:41.110" v="1477" actId="478"/>
          <ac:graphicFrameMkLst>
            <pc:docMk/>
            <pc:sldMk cId="4087775555" sldId="2147483594"/>
            <ac:graphicFrameMk id="10" creationId="{5AB19A99-2CCA-DE87-D8AE-EC16D6FDD902}"/>
          </ac:graphicFrameMkLst>
        </pc:graphicFrameChg>
      </pc:sldChg>
      <pc:sldChg chg="addSp delSp modSp add mod ord">
        <pc:chgData name="Pytlíček Zdeněk" userId="f1b96d20-667b-444a-b19d-4ff707ea1486" providerId="ADAL" clId="{4B050CFC-5B60-4CB0-90C1-6B3AA2BC9A6B}" dt="2024-09-17T10:24:07.844" v="1710" actId="1076"/>
        <pc:sldMkLst>
          <pc:docMk/>
          <pc:sldMk cId="2199549654" sldId="2147483595"/>
        </pc:sldMkLst>
        <pc:spChg chg="mod">
          <ac:chgData name="Pytlíček Zdeněk" userId="f1b96d20-667b-444a-b19d-4ff707ea1486" providerId="ADAL" clId="{4B050CFC-5B60-4CB0-90C1-6B3AA2BC9A6B}" dt="2024-09-17T10:23:56.590" v="1708" actId="20577"/>
          <ac:spMkLst>
            <pc:docMk/>
            <pc:sldMk cId="2199549654" sldId="2147483595"/>
            <ac:spMk id="12" creationId="{4757B15F-F973-4F1D-EE8F-BF362543652D}"/>
          </ac:spMkLst>
        </pc:spChg>
        <pc:picChg chg="del">
          <ac:chgData name="Pytlíček Zdeněk" userId="f1b96d20-667b-444a-b19d-4ff707ea1486" providerId="ADAL" clId="{4B050CFC-5B60-4CB0-90C1-6B3AA2BC9A6B}" dt="2024-09-17T10:14:17.775" v="1482" actId="478"/>
          <ac:picMkLst>
            <pc:docMk/>
            <pc:sldMk cId="2199549654" sldId="2147483595"/>
            <ac:picMk id="3" creationId="{6DC60929-2DA1-8155-9D44-F93E6941B694}"/>
          </ac:picMkLst>
        </pc:picChg>
        <pc:picChg chg="add mod">
          <ac:chgData name="Pytlíček Zdeněk" userId="f1b96d20-667b-444a-b19d-4ff707ea1486" providerId="ADAL" clId="{4B050CFC-5B60-4CB0-90C1-6B3AA2BC9A6B}" dt="2024-09-17T10:24:07.844" v="1710" actId="1076"/>
          <ac:picMkLst>
            <pc:docMk/>
            <pc:sldMk cId="2199549654" sldId="2147483595"/>
            <ac:picMk id="4" creationId="{7DFB0CFA-736F-4C50-56BB-64631C05B328}"/>
          </ac:picMkLst>
        </pc:picChg>
      </pc:sldChg>
      <pc:sldChg chg="addSp delSp modSp add mod">
        <pc:chgData name="Pytlíček Zdeněk" userId="f1b96d20-667b-444a-b19d-4ff707ea1486" providerId="ADAL" clId="{4B050CFC-5B60-4CB0-90C1-6B3AA2BC9A6B}" dt="2024-09-17T10:18:15.676" v="1660" actId="14100"/>
        <pc:sldMkLst>
          <pc:docMk/>
          <pc:sldMk cId="2079218860" sldId="2147483596"/>
        </pc:sldMkLst>
        <pc:spChg chg="mod">
          <ac:chgData name="Pytlíček Zdeněk" userId="f1b96d20-667b-444a-b19d-4ff707ea1486" providerId="ADAL" clId="{4B050CFC-5B60-4CB0-90C1-6B3AA2BC9A6B}" dt="2024-09-17T10:18:15.676" v="1660" actId="14100"/>
          <ac:spMkLst>
            <pc:docMk/>
            <pc:sldMk cId="2079218860" sldId="2147483596"/>
            <ac:spMk id="12" creationId="{4757B15F-F973-4F1D-EE8F-BF362543652D}"/>
          </ac:spMkLst>
        </pc:spChg>
        <pc:picChg chg="add mod">
          <ac:chgData name="Pytlíček Zdeněk" userId="f1b96d20-667b-444a-b19d-4ff707ea1486" providerId="ADAL" clId="{4B050CFC-5B60-4CB0-90C1-6B3AA2BC9A6B}" dt="2024-09-17T10:15:24.911" v="1499" actId="1036"/>
          <ac:picMkLst>
            <pc:docMk/>
            <pc:sldMk cId="2079218860" sldId="2147483596"/>
            <ac:picMk id="3" creationId="{5712416F-1AB0-327A-F315-A69C44039059}"/>
          </ac:picMkLst>
        </pc:picChg>
        <pc:picChg chg="del">
          <ac:chgData name="Pytlíček Zdeněk" userId="f1b96d20-667b-444a-b19d-4ff707ea1486" providerId="ADAL" clId="{4B050CFC-5B60-4CB0-90C1-6B3AA2BC9A6B}" dt="2024-09-17T10:14:46.519" v="1487" actId="478"/>
          <ac:picMkLst>
            <pc:docMk/>
            <pc:sldMk cId="2079218860" sldId="2147483596"/>
            <ac:picMk id="4" creationId="{7DFB0CFA-736F-4C50-56BB-64631C05B328}"/>
          </ac:picMkLst>
        </pc:picChg>
      </pc:sldChg>
      <pc:sldChg chg="addSp delSp modSp add mod ord">
        <pc:chgData name="Pytlíček Zdeněk" userId="f1b96d20-667b-444a-b19d-4ff707ea1486" providerId="ADAL" clId="{4B050CFC-5B60-4CB0-90C1-6B3AA2BC9A6B}" dt="2024-09-17T10:30:30.041" v="1903" actId="1076"/>
        <pc:sldMkLst>
          <pc:docMk/>
          <pc:sldMk cId="3269850412" sldId="2147483597"/>
        </pc:sldMkLst>
        <pc:spChg chg="mod">
          <ac:chgData name="Pytlíček Zdeněk" userId="f1b96d20-667b-444a-b19d-4ff707ea1486" providerId="ADAL" clId="{4B050CFC-5B60-4CB0-90C1-6B3AA2BC9A6B}" dt="2024-09-17T10:28:34.410" v="1891"/>
          <ac:spMkLst>
            <pc:docMk/>
            <pc:sldMk cId="3269850412" sldId="2147483597"/>
            <ac:spMk id="6" creationId="{ED73500A-1872-D8A8-C9DC-32DF67272440}"/>
          </ac:spMkLst>
        </pc:spChg>
        <pc:spChg chg="mod">
          <ac:chgData name="Pytlíček Zdeněk" userId="f1b96d20-667b-444a-b19d-4ff707ea1486" providerId="ADAL" clId="{4B050CFC-5B60-4CB0-90C1-6B3AA2BC9A6B}" dt="2024-09-17T10:21:43.390" v="1687"/>
          <ac:spMkLst>
            <pc:docMk/>
            <pc:sldMk cId="3269850412" sldId="2147483597"/>
            <ac:spMk id="24" creationId="{00000000-0000-0000-0000-000000000000}"/>
          </ac:spMkLst>
        </pc:spChg>
        <pc:graphicFrameChg chg="del">
          <ac:chgData name="Pytlíček Zdeněk" userId="f1b96d20-667b-444a-b19d-4ff707ea1486" providerId="ADAL" clId="{4B050CFC-5B60-4CB0-90C1-6B3AA2BC9A6B}" dt="2024-09-17T10:21:15.192" v="1683" actId="478"/>
          <ac:graphicFrameMkLst>
            <pc:docMk/>
            <pc:sldMk cId="3269850412" sldId="2147483597"/>
            <ac:graphicFrameMk id="5" creationId="{BA86BE3D-45E3-0B07-FF5C-1B8AD5169AC0}"/>
          </ac:graphicFrameMkLst>
        </pc:graphicFrameChg>
        <pc:graphicFrameChg chg="add mod modGraphic">
          <ac:chgData name="Pytlíček Zdeněk" userId="f1b96d20-667b-444a-b19d-4ff707ea1486" providerId="ADAL" clId="{4B050CFC-5B60-4CB0-90C1-6B3AA2BC9A6B}" dt="2024-09-17T10:30:30.041" v="1903" actId="1076"/>
          <ac:graphicFrameMkLst>
            <pc:docMk/>
            <pc:sldMk cId="3269850412" sldId="2147483597"/>
            <ac:graphicFrameMk id="8" creationId="{EE75546B-6049-AC67-1814-7450F4F19F29}"/>
          </ac:graphicFrameMkLst>
        </pc:graphicFrameChg>
        <pc:graphicFrameChg chg="del">
          <ac:chgData name="Pytlíček Zdeněk" userId="f1b96d20-667b-444a-b19d-4ff707ea1486" providerId="ADAL" clId="{4B050CFC-5B60-4CB0-90C1-6B3AA2BC9A6B}" dt="2024-09-17T10:21:16.311" v="1684" actId="478"/>
          <ac:graphicFrameMkLst>
            <pc:docMk/>
            <pc:sldMk cId="3269850412" sldId="2147483597"/>
            <ac:graphicFrameMk id="9" creationId="{13957F55-9993-C6DC-6012-991C63EB2ED5}"/>
          </ac:graphicFrameMkLst>
        </pc:graphicFrameChg>
        <pc:graphicFrameChg chg="add mod modGraphic">
          <ac:chgData name="Pytlíček Zdeněk" userId="f1b96d20-667b-444a-b19d-4ff707ea1486" providerId="ADAL" clId="{4B050CFC-5B60-4CB0-90C1-6B3AA2BC9A6B}" dt="2024-09-17T10:30:25.843" v="1902" actId="1076"/>
          <ac:graphicFrameMkLst>
            <pc:docMk/>
            <pc:sldMk cId="3269850412" sldId="2147483597"/>
            <ac:graphicFrameMk id="11" creationId="{B3181EC2-439A-4A3B-1979-DD222ADD288F}"/>
          </ac:graphicFrameMkLst>
        </pc:graphicFrameChg>
        <pc:picChg chg="add del mod">
          <ac:chgData name="Pytlíček Zdeněk" userId="f1b96d20-667b-444a-b19d-4ff707ea1486" providerId="ADAL" clId="{4B050CFC-5B60-4CB0-90C1-6B3AA2BC9A6B}" dt="2024-09-17T10:22:21.517" v="1692" actId="478"/>
          <ac:picMkLst>
            <pc:docMk/>
            <pc:sldMk cId="3269850412" sldId="2147483597"/>
            <ac:picMk id="3" creationId="{2DDFEE0D-4AD4-67AB-731F-7520D6A5F250}"/>
          </ac:picMkLst>
        </pc:picChg>
      </pc:sldChg>
      <pc:sldChg chg="addSp delSp modSp add mod ord">
        <pc:chgData name="Pytlíček Zdeněk" userId="f1b96d20-667b-444a-b19d-4ff707ea1486" providerId="ADAL" clId="{4B050CFC-5B60-4CB0-90C1-6B3AA2BC9A6B}" dt="2024-09-17T10:26:29.321" v="1796" actId="1035"/>
        <pc:sldMkLst>
          <pc:docMk/>
          <pc:sldMk cId="476880697" sldId="2147483598"/>
        </pc:sldMkLst>
        <pc:spChg chg="mod">
          <ac:chgData name="Pytlíček Zdeněk" userId="f1b96d20-667b-444a-b19d-4ff707ea1486" providerId="ADAL" clId="{4B050CFC-5B60-4CB0-90C1-6B3AA2BC9A6B}" dt="2024-09-17T10:26:01.506" v="1790" actId="6549"/>
          <ac:spMkLst>
            <pc:docMk/>
            <pc:sldMk cId="476880697" sldId="2147483598"/>
            <ac:spMk id="12" creationId="{4757B15F-F973-4F1D-EE8F-BF362543652D}"/>
          </ac:spMkLst>
        </pc:spChg>
        <pc:picChg chg="add mod">
          <ac:chgData name="Pytlíček Zdeněk" userId="f1b96d20-667b-444a-b19d-4ff707ea1486" providerId="ADAL" clId="{4B050CFC-5B60-4CB0-90C1-6B3AA2BC9A6B}" dt="2024-09-17T10:26:29.321" v="1796" actId="1035"/>
          <ac:picMkLst>
            <pc:docMk/>
            <pc:sldMk cId="476880697" sldId="2147483598"/>
            <ac:picMk id="3" creationId="{DC0D45EE-31A1-6D05-0E31-A8A5666DDBF6}"/>
          </ac:picMkLst>
        </pc:picChg>
        <pc:picChg chg="del">
          <ac:chgData name="Pytlíček Zdeněk" userId="f1b96d20-667b-444a-b19d-4ff707ea1486" providerId="ADAL" clId="{4B050CFC-5B60-4CB0-90C1-6B3AA2BC9A6B}" dt="2024-09-17T10:21:53.102" v="1688" actId="478"/>
          <ac:picMkLst>
            <pc:docMk/>
            <pc:sldMk cId="476880697" sldId="2147483598"/>
            <ac:picMk id="4" creationId="{7DFB0CFA-736F-4C50-56BB-64631C05B328}"/>
          </ac:picMkLst>
        </pc:picChg>
      </pc:sldChg>
      <pc:sldChg chg="addSp delSp modSp add mod">
        <pc:chgData name="Pytlíček Zdeněk" userId="f1b96d20-667b-444a-b19d-4ff707ea1486" providerId="ADAL" clId="{4B050CFC-5B60-4CB0-90C1-6B3AA2BC9A6B}" dt="2024-09-17T10:27:59.361" v="1888" actId="1076"/>
        <pc:sldMkLst>
          <pc:docMk/>
          <pc:sldMk cId="3914922479" sldId="2147483599"/>
        </pc:sldMkLst>
        <pc:spChg chg="mod">
          <ac:chgData name="Pytlíček Zdeněk" userId="f1b96d20-667b-444a-b19d-4ff707ea1486" providerId="ADAL" clId="{4B050CFC-5B60-4CB0-90C1-6B3AA2BC9A6B}" dt="2024-09-17T10:27:50.650" v="1886" actId="20577"/>
          <ac:spMkLst>
            <pc:docMk/>
            <pc:sldMk cId="3914922479" sldId="2147483599"/>
            <ac:spMk id="12" creationId="{4757B15F-F973-4F1D-EE8F-BF362543652D}"/>
          </ac:spMkLst>
        </pc:spChg>
        <pc:picChg chg="del">
          <ac:chgData name="Pytlíček Zdeněk" userId="f1b96d20-667b-444a-b19d-4ff707ea1486" providerId="ADAL" clId="{4B050CFC-5B60-4CB0-90C1-6B3AA2BC9A6B}" dt="2024-09-17T10:22:35.741" v="1696" actId="478"/>
          <ac:picMkLst>
            <pc:docMk/>
            <pc:sldMk cId="3914922479" sldId="2147483599"/>
            <ac:picMk id="3" creationId="{DC0D45EE-31A1-6D05-0E31-A8A5666DDBF6}"/>
          </ac:picMkLst>
        </pc:picChg>
        <pc:picChg chg="add mod">
          <ac:chgData name="Pytlíček Zdeněk" userId="f1b96d20-667b-444a-b19d-4ff707ea1486" providerId="ADAL" clId="{4B050CFC-5B60-4CB0-90C1-6B3AA2BC9A6B}" dt="2024-09-17T10:27:59.361" v="1888" actId="1076"/>
          <ac:picMkLst>
            <pc:docMk/>
            <pc:sldMk cId="3914922479" sldId="2147483599"/>
            <ac:picMk id="4" creationId="{2153AE53-37F8-F6A0-7B89-C7F93353B45D}"/>
          </ac:picMkLst>
        </pc:picChg>
      </pc:sldChg>
      <pc:sldChg chg="addSp delSp modSp add mod ord">
        <pc:chgData name="Pytlíček Zdeněk" userId="f1b96d20-667b-444a-b19d-4ff707ea1486" providerId="ADAL" clId="{4B050CFC-5B60-4CB0-90C1-6B3AA2BC9A6B}" dt="2024-09-17T10:37:36.930" v="2080" actId="1076"/>
        <pc:sldMkLst>
          <pc:docMk/>
          <pc:sldMk cId="277605336" sldId="2147483600"/>
        </pc:sldMkLst>
        <pc:spChg chg="mod">
          <ac:chgData name="Pytlíček Zdeněk" userId="f1b96d20-667b-444a-b19d-4ff707ea1486" providerId="ADAL" clId="{4B050CFC-5B60-4CB0-90C1-6B3AA2BC9A6B}" dt="2024-09-17T10:36:48.255" v="2070"/>
          <ac:spMkLst>
            <pc:docMk/>
            <pc:sldMk cId="277605336" sldId="2147483600"/>
            <ac:spMk id="6" creationId="{ED73500A-1872-D8A8-C9DC-32DF67272440}"/>
          </ac:spMkLst>
        </pc:spChg>
        <pc:spChg chg="mod">
          <ac:chgData name="Pytlíček Zdeněk" userId="f1b96d20-667b-444a-b19d-4ff707ea1486" providerId="ADAL" clId="{4B050CFC-5B60-4CB0-90C1-6B3AA2BC9A6B}" dt="2024-09-17T10:31:22.639" v="1912"/>
          <ac:spMkLst>
            <pc:docMk/>
            <pc:sldMk cId="277605336" sldId="2147483600"/>
            <ac:spMk id="24" creationId="{00000000-0000-0000-0000-000000000000}"/>
          </ac:spMkLst>
        </pc:spChg>
        <pc:graphicFrameChg chg="add mod modGraphic">
          <ac:chgData name="Pytlíček Zdeněk" userId="f1b96d20-667b-444a-b19d-4ff707ea1486" providerId="ADAL" clId="{4B050CFC-5B60-4CB0-90C1-6B3AA2BC9A6B}" dt="2024-09-17T10:37:34.790" v="2079" actId="1076"/>
          <ac:graphicFrameMkLst>
            <pc:docMk/>
            <pc:sldMk cId="277605336" sldId="2147483600"/>
            <ac:graphicFrameMk id="3" creationId="{AD7B85C3-A717-9188-8A30-079178E7BD53}"/>
          </ac:graphicFrameMkLst>
        </pc:graphicFrameChg>
        <pc:graphicFrameChg chg="add mod modGraphic">
          <ac:chgData name="Pytlíček Zdeněk" userId="f1b96d20-667b-444a-b19d-4ff707ea1486" providerId="ADAL" clId="{4B050CFC-5B60-4CB0-90C1-6B3AA2BC9A6B}" dt="2024-09-17T10:37:36.930" v="2080" actId="1076"/>
          <ac:graphicFrameMkLst>
            <pc:docMk/>
            <pc:sldMk cId="277605336" sldId="2147483600"/>
            <ac:graphicFrameMk id="7" creationId="{F0227A47-5587-8E77-257C-B3B845B1E653}"/>
          </ac:graphicFrameMkLst>
        </pc:graphicFrameChg>
        <pc:graphicFrameChg chg="del">
          <ac:chgData name="Pytlíček Zdeněk" userId="f1b96d20-667b-444a-b19d-4ff707ea1486" providerId="ADAL" clId="{4B050CFC-5B60-4CB0-90C1-6B3AA2BC9A6B}" dt="2024-09-17T10:31:34.401" v="1913" actId="478"/>
          <ac:graphicFrameMkLst>
            <pc:docMk/>
            <pc:sldMk cId="277605336" sldId="2147483600"/>
            <ac:graphicFrameMk id="8" creationId="{EE75546B-6049-AC67-1814-7450F4F19F29}"/>
          </ac:graphicFrameMkLst>
        </pc:graphicFrameChg>
        <pc:graphicFrameChg chg="del">
          <ac:chgData name="Pytlíček Zdeněk" userId="f1b96d20-667b-444a-b19d-4ff707ea1486" providerId="ADAL" clId="{4B050CFC-5B60-4CB0-90C1-6B3AA2BC9A6B}" dt="2024-09-17T10:31:35.224" v="1914" actId="478"/>
          <ac:graphicFrameMkLst>
            <pc:docMk/>
            <pc:sldMk cId="277605336" sldId="2147483600"/>
            <ac:graphicFrameMk id="11" creationId="{B3181EC2-439A-4A3B-1979-DD222ADD288F}"/>
          </ac:graphicFrameMkLst>
        </pc:graphicFrameChg>
      </pc:sldChg>
      <pc:sldChg chg="addSp delSp modSp add mod ord">
        <pc:chgData name="Pytlíček Zdeněk" userId="f1b96d20-667b-444a-b19d-4ff707ea1486" providerId="ADAL" clId="{4B050CFC-5B60-4CB0-90C1-6B3AA2BC9A6B}" dt="2024-09-17T10:36:22.282" v="2067" actId="6549"/>
        <pc:sldMkLst>
          <pc:docMk/>
          <pc:sldMk cId="2689905849" sldId="2147483601"/>
        </pc:sldMkLst>
        <pc:spChg chg="mod">
          <ac:chgData name="Pytlíček Zdeněk" userId="f1b96d20-667b-444a-b19d-4ff707ea1486" providerId="ADAL" clId="{4B050CFC-5B60-4CB0-90C1-6B3AA2BC9A6B}" dt="2024-09-17T10:36:22.282" v="2067" actId="6549"/>
          <ac:spMkLst>
            <pc:docMk/>
            <pc:sldMk cId="2689905849" sldId="2147483601"/>
            <ac:spMk id="12" creationId="{4757B15F-F973-4F1D-EE8F-BF362543652D}"/>
          </ac:spMkLst>
        </pc:spChg>
        <pc:picChg chg="add mod">
          <ac:chgData name="Pytlíček Zdeněk" userId="f1b96d20-667b-444a-b19d-4ff707ea1486" providerId="ADAL" clId="{4B050CFC-5B60-4CB0-90C1-6B3AA2BC9A6B}" dt="2024-09-17T10:35:23.484" v="2011" actId="14100"/>
          <ac:picMkLst>
            <pc:docMk/>
            <pc:sldMk cId="2689905849" sldId="2147483601"/>
            <ac:picMk id="3" creationId="{CA63343F-2CD6-A01F-0B58-A28F8762CCED}"/>
          </ac:picMkLst>
        </pc:picChg>
        <pc:picChg chg="del">
          <ac:chgData name="Pytlíček Zdeněk" userId="f1b96d20-667b-444a-b19d-4ff707ea1486" providerId="ADAL" clId="{4B050CFC-5B60-4CB0-90C1-6B3AA2BC9A6B}" dt="2024-09-17T10:32:01.848" v="1915" actId="478"/>
          <ac:picMkLst>
            <pc:docMk/>
            <pc:sldMk cId="2689905849" sldId="2147483601"/>
            <ac:picMk id="4" creationId="{2153AE53-37F8-F6A0-7B89-C7F93353B45D}"/>
          </ac:picMkLst>
        </pc:picChg>
        <pc:picChg chg="add mod">
          <ac:chgData name="Pytlíček Zdeněk" userId="f1b96d20-667b-444a-b19d-4ff707ea1486" providerId="ADAL" clId="{4B050CFC-5B60-4CB0-90C1-6B3AA2BC9A6B}" dt="2024-09-17T10:35:19.386" v="2010" actId="14100"/>
          <ac:picMkLst>
            <pc:docMk/>
            <pc:sldMk cId="2689905849" sldId="2147483601"/>
            <ac:picMk id="5" creationId="{00D357F5-AB12-AC37-3117-0367F5DCF898}"/>
          </ac:picMkLst>
        </pc:picChg>
      </pc:sldChg>
      <pc:sldChg chg="addSp modSp add mod">
        <pc:chgData name="Pytlíček Zdeněk" userId="f1b96d20-667b-444a-b19d-4ff707ea1486" providerId="ADAL" clId="{4B050CFC-5B60-4CB0-90C1-6B3AA2BC9A6B}" dt="2024-09-17T10:49:36.235" v="2178" actId="1038"/>
        <pc:sldMkLst>
          <pc:docMk/>
          <pc:sldMk cId="3797411274" sldId="2147483602"/>
        </pc:sldMkLst>
        <pc:spChg chg="mod">
          <ac:chgData name="Pytlíček Zdeněk" userId="f1b96d20-667b-444a-b19d-4ff707ea1486" providerId="ADAL" clId="{4B050CFC-5B60-4CB0-90C1-6B3AA2BC9A6B}" dt="2024-09-17T10:49:14.181" v="2166" actId="20577"/>
          <ac:spMkLst>
            <pc:docMk/>
            <pc:sldMk cId="3797411274" sldId="2147483602"/>
            <ac:spMk id="12" creationId="{4757B15F-F973-4F1D-EE8F-BF362543652D}"/>
          </ac:spMkLst>
        </pc:spChg>
        <pc:picChg chg="add mod">
          <ac:chgData name="Pytlíček Zdeněk" userId="f1b96d20-667b-444a-b19d-4ff707ea1486" providerId="ADAL" clId="{4B050CFC-5B60-4CB0-90C1-6B3AA2BC9A6B}" dt="2024-09-17T10:49:36.235" v="2178" actId="1038"/>
          <ac:picMkLst>
            <pc:docMk/>
            <pc:sldMk cId="3797411274" sldId="2147483602"/>
            <ac:picMk id="3" creationId="{7F09CEA0-E731-5E34-1DCB-DA3946895B6F}"/>
          </ac:picMkLst>
        </pc:picChg>
        <pc:picChg chg="add mod">
          <ac:chgData name="Pytlíček Zdeněk" userId="f1b96d20-667b-444a-b19d-4ff707ea1486" providerId="ADAL" clId="{4B050CFC-5B60-4CB0-90C1-6B3AA2BC9A6B}" dt="2024-09-17T10:49:33.331" v="2173" actId="1038"/>
          <ac:picMkLst>
            <pc:docMk/>
            <pc:sldMk cId="3797411274" sldId="2147483602"/>
            <ac:picMk id="4" creationId="{CC878974-C690-A90D-512E-4150C9872BE3}"/>
          </ac:picMkLst>
        </pc:picChg>
      </pc:sldChg>
      <pc:sldChg chg="addSp delSp modSp add mod">
        <pc:chgData name="Pytlíček Zdeněk" userId="f1b96d20-667b-444a-b19d-4ff707ea1486" providerId="ADAL" clId="{4B050CFC-5B60-4CB0-90C1-6B3AA2BC9A6B}" dt="2024-09-17T10:36:07.137" v="2065" actId="20577"/>
        <pc:sldMkLst>
          <pc:docMk/>
          <pc:sldMk cId="1599884528" sldId="2147483603"/>
        </pc:sldMkLst>
        <pc:spChg chg="mod">
          <ac:chgData name="Pytlíček Zdeněk" userId="f1b96d20-667b-444a-b19d-4ff707ea1486" providerId="ADAL" clId="{4B050CFC-5B60-4CB0-90C1-6B3AA2BC9A6B}" dt="2024-09-17T10:36:07.137" v="2065" actId="20577"/>
          <ac:spMkLst>
            <pc:docMk/>
            <pc:sldMk cId="1599884528" sldId="2147483603"/>
            <ac:spMk id="12" creationId="{4757B15F-F973-4F1D-EE8F-BF362543652D}"/>
          </ac:spMkLst>
        </pc:spChg>
        <pc:picChg chg="add del mod">
          <ac:chgData name="Pytlíček Zdeněk" userId="f1b96d20-667b-444a-b19d-4ff707ea1486" providerId="ADAL" clId="{4B050CFC-5B60-4CB0-90C1-6B3AA2BC9A6B}" dt="2024-09-17T10:32:43.880" v="1924" actId="21"/>
          <ac:picMkLst>
            <pc:docMk/>
            <pc:sldMk cId="1599884528" sldId="2147483603"/>
            <ac:picMk id="3" creationId="{00D357F5-AB12-AC37-3117-0367F5DCF898}"/>
          </ac:picMkLst>
        </pc:picChg>
        <pc:picChg chg="add mod">
          <ac:chgData name="Pytlíček Zdeněk" userId="f1b96d20-667b-444a-b19d-4ff707ea1486" providerId="ADAL" clId="{4B050CFC-5B60-4CB0-90C1-6B3AA2BC9A6B}" dt="2024-09-17T10:33:10.967" v="1937" actId="14100"/>
          <ac:picMkLst>
            <pc:docMk/>
            <pc:sldMk cId="1599884528" sldId="2147483603"/>
            <ac:picMk id="5" creationId="{6192B546-369A-0A55-C16F-7441D955A4BF}"/>
          </ac:picMkLst>
        </pc:picChg>
      </pc:sldChg>
      <pc:sldChg chg="addSp delSp modSp add mod ord">
        <pc:chgData name="Pytlíček Zdeněk" userId="f1b96d20-667b-444a-b19d-4ff707ea1486" providerId="ADAL" clId="{4B050CFC-5B60-4CB0-90C1-6B3AA2BC9A6B}" dt="2024-09-17T10:53:04.425" v="2297" actId="1038"/>
        <pc:sldMkLst>
          <pc:docMk/>
          <pc:sldMk cId="2151969125" sldId="2147483604"/>
        </pc:sldMkLst>
        <pc:spChg chg="mod">
          <ac:chgData name="Pytlíček Zdeněk" userId="f1b96d20-667b-444a-b19d-4ff707ea1486" providerId="ADAL" clId="{4B050CFC-5B60-4CB0-90C1-6B3AA2BC9A6B}" dt="2024-09-17T10:51:56.825" v="2285"/>
          <ac:spMkLst>
            <pc:docMk/>
            <pc:sldMk cId="2151969125" sldId="2147483604"/>
            <ac:spMk id="6" creationId="{ED73500A-1872-D8A8-C9DC-32DF67272440}"/>
          </ac:spMkLst>
        </pc:spChg>
        <pc:spChg chg="mod">
          <ac:chgData name="Pytlíček Zdeněk" userId="f1b96d20-667b-444a-b19d-4ff707ea1486" providerId="ADAL" clId="{4B050CFC-5B60-4CB0-90C1-6B3AA2BC9A6B}" dt="2024-09-17T10:38:33.936" v="2090"/>
          <ac:spMkLst>
            <pc:docMk/>
            <pc:sldMk cId="2151969125" sldId="2147483604"/>
            <ac:spMk id="24" creationId="{00000000-0000-0000-0000-000000000000}"/>
          </ac:spMkLst>
        </pc:spChg>
        <pc:graphicFrameChg chg="del">
          <ac:chgData name="Pytlíček Zdeněk" userId="f1b96d20-667b-444a-b19d-4ff707ea1486" providerId="ADAL" clId="{4B050CFC-5B60-4CB0-90C1-6B3AA2BC9A6B}" dt="2024-09-17T10:38:05.716" v="2086" actId="478"/>
          <ac:graphicFrameMkLst>
            <pc:docMk/>
            <pc:sldMk cId="2151969125" sldId="2147483604"/>
            <ac:graphicFrameMk id="3" creationId="{AD7B85C3-A717-9188-8A30-079178E7BD53}"/>
          </ac:graphicFrameMkLst>
        </pc:graphicFrameChg>
        <pc:graphicFrameChg chg="add mod modGraphic">
          <ac:chgData name="Pytlíček Zdeněk" userId="f1b96d20-667b-444a-b19d-4ff707ea1486" providerId="ADAL" clId="{4B050CFC-5B60-4CB0-90C1-6B3AA2BC9A6B}" dt="2024-09-17T10:53:04.425" v="2297" actId="1038"/>
          <ac:graphicFrameMkLst>
            <pc:docMk/>
            <pc:sldMk cId="2151969125" sldId="2147483604"/>
            <ac:graphicFrameMk id="5" creationId="{244C732B-008D-6B7F-5A79-23843BAC984D}"/>
          </ac:graphicFrameMkLst>
        </pc:graphicFrameChg>
        <pc:graphicFrameChg chg="del">
          <ac:chgData name="Pytlíček Zdeněk" userId="f1b96d20-667b-444a-b19d-4ff707ea1486" providerId="ADAL" clId="{4B050CFC-5B60-4CB0-90C1-6B3AA2BC9A6B}" dt="2024-09-17T10:38:06.531" v="2087" actId="478"/>
          <ac:graphicFrameMkLst>
            <pc:docMk/>
            <pc:sldMk cId="2151969125" sldId="2147483604"/>
            <ac:graphicFrameMk id="7" creationId="{F0227A47-5587-8E77-257C-B3B845B1E653}"/>
          </ac:graphicFrameMkLst>
        </pc:graphicFrameChg>
        <pc:graphicFrameChg chg="add mod modGraphic">
          <ac:chgData name="Pytlíček Zdeněk" userId="f1b96d20-667b-444a-b19d-4ff707ea1486" providerId="ADAL" clId="{4B050CFC-5B60-4CB0-90C1-6B3AA2BC9A6B}" dt="2024-09-17T10:53:04.425" v="2297" actId="1038"/>
          <ac:graphicFrameMkLst>
            <pc:docMk/>
            <pc:sldMk cId="2151969125" sldId="2147483604"/>
            <ac:graphicFrameMk id="9" creationId="{9B79BB08-BE61-4B5B-4FCE-88CD6A712527}"/>
          </ac:graphicFrameMkLst>
        </pc:graphicFrameChg>
        <pc:graphicFrameChg chg="add mod modGraphic">
          <ac:chgData name="Pytlíček Zdeněk" userId="f1b96d20-667b-444a-b19d-4ff707ea1486" providerId="ADAL" clId="{4B050CFC-5B60-4CB0-90C1-6B3AA2BC9A6B}" dt="2024-09-17T10:53:04.425" v="2297" actId="1038"/>
          <ac:graphicFrameMkLst>
            <pc:docMk/>
            <pc:sldMk cId="2151969125" sldId="2147483604"/>
            <ac:graphicFrameMk id="11" creationId="{D4CCE725-C982-D597-E9D7-BF2BF134F63C}"/>
          </ac:graphicFrameMkLst>
        </pc:graphicFrameChg>
      </pc:sldChg>
      <pc:sldChg chg="addSp delSp modSp add mod">
        <pc:chgData name="Pytlíček Zdeněk" userId="f1b96d20-667b-444a-b19d-4ff707ea1486" providerId="ADAL" clId="{4B050CFC-5B60-4CB0-90C1-6B3AA2BC9A6B}" dt="2024-09-17T10:50:29.771" v="2229" actId="20577"/>
        <pc:sldMkLst>
          <pc:docMk/>
          <pc:sldMk cId="4287846463" sldId="2147483605"/>
        </pc:sldMkLst>
        <pc:spChg chg="mod">
          <ac:chgData name="Pytlíček Zdeněk" userId="f1b96d20-667b-444a-b19d-4ff707ea1486" providerId="ADAL" clId="{4B050CFC-5B60-4CB0-90C1-6B3AA2BC9A6B}" dt="2024-09-17T10:50:29.771" v="2229" actId="20577"/>
          <ac:spMkLst>
            <pc:docMk/>
            <pc:sldMk cId="4287846463" sldId="2147483605"/>
            <ac:spMk id="12" creationId="{4757B15F-F973-4F1D-EE8F-BF362543652D}"/>
          </ac:spMkLst>
        </pc:spChg>
        <pc:picChg chg="add del mod">
          <ac:chgData name="Pytlíček Zdeněk" userId="f1b96d20-667b-444a-b19d-4ff707ea1486" providerId="ADAL" clId="{4B050CFC-5B60-4CB0-90C1-6B3AA2BC9A6B}" dt="2024-09-17T10:43:32.061" v="2098" actId="21"/>
          <ac:picMkLst>
            <pc:docMk/>
            <pc:sldMk cId="4287846463" sldId="2147483605"/>
            <ac:picMk id="3" creationId="{CC878974-C690-A90D-512E-4150C9872BE3}"/>
          </ac:picMkLst>
        </pc:picChg>
        <pc:picChg chg="add mod">
          <ac:chgData name="Pytlíček Zdeněk" userId="f1b96d20-667b-444a-b19d-4ff707ea1486" providerId="ADAL" clId="{4B050CFC-5B60-4CB0-90C1-6B3AA2BC9A6B}" dt="2024-09-17T10:50:07.517" v="2210" actId="1035"/>
          <ac:picMkLst>
            <pc:docMk/>
            <pc:sldMk cId="4287846463" sldId="2147483605"/>
            <ac:picMk id="5" creationId="{B9BF9B5F-3AD8-F85A-5B67-D8D42D699EE9}"/>
          </ac:picMkLst>
        </pc:picChg>
      </pc:sldChg>
      <pc:sldChg chg="addSp delSp modSp add mod">
        <pc:chgData name="Pytlíček Zdeněk" userId="f1b96d20-667b-444a-b19d-4ff707ea1486" providerId="ADAL" clId="{4B050CFC-5B60-4CB0-90C1-6B3AA2BC9A6B}" dt="2024-09-17T10:50:57.889" v="2278" actId="20577"/>
        <pc:sldMkLst>
          <pc:docMk/>
          <pc:sldMk cId="3606197900" sldId="2147483606"/>
        </pc:sldMkLst>
        <pc:spChg chg="mod">
          <ac:chgData name="Pytlíček Zdeněk" userId="f1b96d20-667b-444a-b19d-4ff707ea1486" providerId="ADAL" clId="{4B050CFC-5B60-4CB0-90C1-6B3AA2BC9A6B}" dt="2024-09-17T10:50:57.889" v="2278" actId="20577"/>
          <ac:spMkLst>
            <pc:docMk/>
            <pc:sldMk cId="3606197900" sldId="2147483606"/>
            <ac:spMk id="12" creationId="{4757B15F-F973-4F1D-EE8F-BF362543652D}"/>
          </ac:spMkLst>
        </pc:spChg>
        <pc:picChg chg="add del mod ord">
          <ac:chgData name="Pytlíček Zdeněk" userId="f1b96d20-667b-444a-b19d-4ff707ea1486" providerId="ADAL" clId="{4B050CFC-5B60-4CB0-90C1-6B3AA2BC9A6B}" dt="2024-09-17T10:48:47.023" v="2124" actId="478"/>
          <ac:picMkLst>
            <pc:docMk/>
            <pc:sldMk cId="3606197900" sldId="2147483606"/>
            <ac:picMk id="3" creationId="{55AD5EAE-D519-63C6-749C-E268B17E9FE3}"/>
          </ac:picMkLst>
        </pc:picChg>
        <pc:picChg chg="add mod">
          <ac:chgData name="Pytlíček Zdeněk" userId="f1b96d20-667b-444a-b19d-4ff707ea1486" providerId="ADAL" clId="{4B050CFC-5B60-4CB0-90C1-6B3AA2BC9A6B}" dt="2024-09-17T10:48:51.228" v="2126" actId="1076"/>
          <ac:picMkLst>
            <pc:docMk/>
            <pc:sldMk cId="3606197900" sldId="2147483606"/>
            <ac:picMk id="5" creationId="{CC4580ED-277F-11D5-A77A-5A6AC254E5D2}"/>
          </ac:picMkLst>
        </pc:picChg>
        <pc:picChg chg="add del mod">
          <ac:chgData name="Pytlíček Zdeněk" userId="f1b96d20-667b-444a-b19d-4ff707ea1486" providerId="ADAL" clId="{4B050CFC-5B60-4CB0-90C1-6B3AA2BC9A6B}" dt="2024-09-17T10:47:47.542" v="2115" actId="478"/>
          <ac:picMkLst>
            <pc:docMk/>
            <pc:sldMk cId="3606197900" sldId="2147483606"/>
            <ac:picMk id="7" creationId="{8461190E-3603-1098-D24F-69D0935A7203}"/>
          </ac:picMkLst>
        </pc:picChg>
      </pc:sldChg>
      <pc:sldChg chg="modSp add mod ord">
        <pc:chgData name="Pytlíček Zdeněk" userId="f1b96d20-667b-444a-b19d-4ff707ea1486" providerId="ADAL" clId="{4B050CFC-5B60-4CB0-90C1-6B3AA2BC9A6B}" dt="2024-09-24T06:39:43.300" v="2356" actId="1035"/>
        <pc:sldMkLst>
          <pc:docMk/>
          <pc:sldMk cId="1092715146" sldId="2147483607"/>
        </pc:sldMkLst>
        <pc:spChg chg="mod">
          <ac:chgData name="Pytlíček Zdeněk" userId="f1b96d20-667b-444a-b19d-4ff707ea1486" providerId="ADAL" clId="{4B050CFC-5B60-4CB0-90C1-6B3AA2BC9A6B}" dt="2024-09-24T06:39:38.438" v="2353" actId="1036"/>
          <ac:spMkLst>
            <pc:docMk/>
            <pc:sldMk cId="1092715146" sldId="2147483607"/>
            <ac:spMk id="2" creationId="{82F9C02E-6E50-426A-BD5A-84DF309B4E9D}"/>
          </ac:spMkLst>
        </pc:spChg>
        <pc:spChg chg="mod">
          <ac:chgData name="Pytlíček Zdeněk" userId="f1b96d20-667b-444a-b19d-4ff707ea1486" providerId="ADAL" clId="{4B050CFC-5B60-4CB0-90C1-6B3AA2BC9A6B}" dt="2024-09-20T10:57:12.382" v="2324" actId="1035"/>
          <ac:spMkLst>
            <pc:docMk/>
            <pc:sldMk cId="1092715146" sldId="2147483607"/>
            <ac:spMk id="5" creationId="{87E35A90-CA44-4E75-AEE4-A4F0AE97B002}"/>
          </ac:spMkLst>
        </pc:spChg>
        <pc:spChg chg="mod">
          <ac:chgData name="Pytlíček Zdeněk" userId="f1b96d20-667b-444a-b19d-4ff707ea1486" providerId="ADAL" clId="{4B050CFC-5B60-4CB0-90C1-6B3AA2BC9A6B}" dt="2024-09-17T10:54:15.176" v="2309" actId="20577"/>
          <ac:spMkLst>
            <pc:docMk/>
            <pc:sldMk cId="1092715146" sldId="2147483607"/>
            <ac:spMk id="8" creationId="{BB75BBAA-EDB1-4CB3-A906-FD28D7B2A040}"/>
          </ac:spMkLst>
        </pc:spChg>
        <pc:spChg chg="mod">
          <ac:chgData name="Pytlíček Zdeněk" userId="f1b96d20-667b-444a-b19d-4ff707ea1486" providerId="ADAL" clId="{4B050CFC-5B60-4CB0-90C1-6B3AA2BC9A6B}" dt="2024-09-24T06:39:43.300" v="2356" actId="1035"/>
          <ac:spMkLst>
            <pc:docMk/>
            <pc:sldMk cId="1092715146" sldId="2147483607"/>
            <ac:spMk id="9" creationId="{010907F1-75D5-3970-5CFF-FA2E5B4571B0}"/>
          </ac:spMkLst>
        </pc:spChg>
      </pc:sldChg>
      <pc:sldMasterChg chg="delSldLayout">
        <pc:chgData name="Pytlíček Zdeněk" userId="f1b96d20-667b-444a-b19d-4ff707ea1486" providerId="ADAL" clId="{4B050CFC-5B60-4CB0-90C1-6B3AA2BC9A6B}" dt="2024-09-16T10:54:22.135" v="424" actId="47"/>
        <pc:sldMasterMkLst>
          <pc:docMk/>
          <pc:sldMasterMk cId="1716046767" sldId="2147483648"/>
        </pc:sldMasterMkLst>
        <pc:sldLayoutChg chg="del">
          <pc:chgData name="Pytlíček Zdeněk" userId="f1b96d20-667b-444a-b19d-4ff707ea1486" providerId="ADAL" clId="{4B050CFC-5B60-4CB0-90C1-6B3AA2BC9A6B}" dt="2024-09-16T10:54:22.135" v="424" actId="47"/>
          <pc:sldLayoutMkLst>
            <pc:docMk/>
            <pc:sldMasterMk cId="1716046767" sldId="2147483648"/>
            <pc:sldLayoutMk cId="4230577323" sldId="2147483746"/>
          </pc:sldLayoutMkLst>
        </pc:sldLayoutChg>
      </pc:sldMasterChg>
    </pc:docChg>
  </pc:docChgLst>
  <pc:docChgLst>
    <pc:chgData name="Kolafová Martina" userId="S::martina.kolafova@gasnet.cz::e6d1e1d4-c53d-46a7-bc4b-94abe340970e" providerId="AD" clId="Web-{84DDF6AA-0DDD-497C-9722-8CFFF141E0F1}"/>
    <pc:docChg chg="sldOrd">
      <pc:chgData name="Kolafová Martina" userId="S::martina.kolafova@gasnet.cz::e6d1e1d4-c53d-46a7-bc4b-94abe340970e" providerId="AD" clId="Web-{84DDF6AA-0DDD-497C-9722-8CFFF141E0F1}" dt="2024-09-19T11:14:08.611" v="2"/>
      <pc:docMkLst>
        <pc:docMk/>
      </pc:docMkLst>
      <pc:sldChg chg="ord">
        <pc:chgData name="Kolafová Martina" userId="S::martina.kolafova@gasnet.cz::e6d1e1d4-c53d-46a7-bc4b-94abe340970e" providerId="AD" clId="Web-{84DDF6AA-0DDD-497C-9722-8CFFF141E0F1}" dt="2024-09-19T11:13:53.407" v="1"/>
        <pc:sldMkLst>
          <pc:docMk/>
          <pc:sldMk cId="3600418467" sldId="355"/>
        </pc:sldMkLst>
      </pc:sldChg>
      <pc:sldChg chg="ord">
        <pc:chgData name="Kolafová Martina" userId="S::martina.kolafova@gasnet.cz::e6d1e1d4-c53d-46a7-bc4b-94abe340970e" providerId="AD" clId="Web-{84DDF6AA-0DDD-497C-9722-8CFFF141E0F1}" dt="2024-09-19T11:06:23.422" v="0"/>
        <pc:sldMkLst>
          <pc:docMk/>
          <pc:sldMk cId="1313477572" sldId="357"/>
        </pc:sldMkLst>
      </pc:sldChg>
      <pc:sldChg chg="ord">
        <pc:chgData name="Kolafová Martina" userId="S::martina.kolafova@gasnet.cz::e6d1e1d4-c53d-46a7-bc4b-94abe340970e" providerId="AD" clId="Web-{84DDF6AA-0DDD-497C-9722-8CFFF141E0F1}" dt="2024-09-19T11:14:08.611" v="2"/>
        <pc:sldMkLst>
          <pc:docMk/>
          <pc:sldMk cId="3958166420" sldId="2147483587"/>
        </pc:sldMkLst>
      </pc:sldChg>
    </pc:docChg>
  </pc:docChgLst>
  <pc:docChgLst>
    <pc:chgData name="Pytlíček Zdeněk" userId="f1b96d20-667b-444a-b19d-4ff707ea1486" providerId="ADAL" clId="{C1361F60-D0BD-41B7-810B-7391F736742D}"/>
    <pc:docChg chg="custSel modSld">
      <pc:chgData name="Pytlíček Zdeněk" userId="f1b96d20-667b-444a-b19d-4ff707ea1486" providerId="ADAL" clId="{C1361F60-D0BD-41B7-810B-7391F736742D}" dt="2024-09-20T09:21:01.226" v="545" actId="1036"/>
      <pc:docMkLst>
        <pc:docMk/>
      </pc:docMkLst>
      <pc:sldChg chg="modSp mod">
        <pc:chgData name="Pytlíček Zdeněk" userId="f1b96d20-667b-444a-b19d-4ff707ea1486" providerId="ADAL" clId="{C1361F60-D0BD-41B7-810B-7391F736742D}" dt="2024-09-19T11:28:15.980" v="6" actId="403"/>
        <pc:sldMkLst>
          <pc:docMk/>
          <pc:sldMk cId="1483030862" sldId="341"/>
        </pc:sldMkLst>
        <pc:spChg chg="mod">
          <ac:chgData name="Pytlíček Zdeněk" userId="f1b96d20-667b-444a-b19d-4ff707ea1486" providerId="ADAL" clId="{C1361F60-D0BD-41B7-810B-7391F736742D}" dt="2024-09-19T11:28:15.980" v="6" actId="403"/>
          <ac:spMkLst>
            <pc:docMk/>
            <pc:sldMk cId="1483030862" sldId="341"/>
            <ac:spMk id="6" creationId="{7C4E4BB0-05E4-48F2-827B-2DFA2B19E86E}"/>
          </ac:spMkLst>
        </pc:spChg>
      </pc:sldChg>
      <pc:sldChg chg="modSp mod">
        <pc:chgData name="Pytlíček Zdeněk" userId="f1b96d20-667b-444a-b19d-4ff707ea1486" providerId="ADAL" clId="{C1361F60-D0BD-41B7-810B-7391F736742D}" dt="2024-09-19T11:27:49.878" v="2" actId="404"/>
        <pc:sldMkLst>
          <pc:docMk/>
          <pc:sldMk cId="3600418467" sldId="355"/>
        </pc:sldMkLst>
        <pc:spChg chg="mod">
          <ac:chgData name="Pytlíček Zdeněk" userId="f1b96d20-667b-444a-b19d-4ff707ea1486" providerId="ADAL" clId="{C1361F60-D0BD-41B7-810B-7391F736742D}" dt="2024-09-19T11:27:49.878" v="2" actId="404"/>
          <ac:spMkLst>
            <pc:docMk/>
            <pc:sldMk cId="3600418467" sldId="355"/>
            <ac:spMk id="2" creationId="{82F9C02E-6E50-426A-BD5A-84DF309B4E9D}"/>
          </ac:spMkLst>
        </pc:spChg>
      </pc:sldChg>
      <pc:sldChg chg="modSp mod">
        <pc:chgData name="Pytlíček Zdeněk" userId="f1b96d20-667b-444a-b19d-4ff707ea1486" providerId="ADAL" clId="{C1361F60-D0BD-41B7-810B-7391F736742D}" dt="2024-09-19T11:28:44.293" v="7" actId="108"/>
        <pc:sldMkLst>
          <pc:docMk/>
          <pc:sldMk cId="3198726984" sldId="2147483589"/>
        </pc:sldMkLst>
        <pc:spChg chg="mod">
          <ac:chgData name="Pytlíček Zdeněk" userId="f1b96d20-667b-444a-b19d-4ff707ea1486" providerId="ADAL" clId="{C1361F60-D0BD-41B7-810B-7391F736742D}" dt="2024-09-19T11:28:44.293" v="7" actId="108"/>
          <ac:spMkLst>
            <pc:docMk/>
            <pc:sldMk cId="3198726984" sldId="2147483589"/>
            <ac:spMk id="12" creationId="{4757B15F-F973-4F1D-EE8F-BF362543652D}"/>
          </ac:spMkLst>
        </pc:spChg>
      </pc:sldChg>
      <pc:sldChg chg="modSp mod">
        <pc:chgData name="Pytlíček Zdeněk" userId="f1b96d20-667b-444a-b19d-4ff707ea1486" providerId="ADAL" clId="{C1361F60-D0BD-41B7-810B-7391F736742D}" dt="2024-09-19T11:29:19.990" v="8" actId="108"/>
        <pc:sldMkLst>
          <pc:docMk/>
          <pc:sldMk cId="1808912403" sldId="2147483591"/>
        </pc:sldMkLst>
        <pc:spChg chg="mod">
          <ac:chgData name="Pytlíček Zdeněk" userId="f1b96d20-667b-444a-b19d-4ff707ea1486" providerId="ADAL" clId="{C1361F60-D0BD-41B7-810B-7391F736742D}" dt="2024-09-19T11:29:19.990" v="8" actId="108"/>
          <ac:spMkLst>
            <pc:docMk/>
            <pc:sldMk cId="1808912403" sldId="2147483591"/>
            <ac:spMk id="12" creationId="{4757B15F-F973-4F1D-EE8F-BF362543652D}"/>
          </ac:spMkLst>
        </pc:spChg>
      </pc:sldChg>
      <pc:sldChg chg="modSp mod">
        <pc:chgData name="Pytlíček Zdeněk" userId="f1b96d20-667b-444a-b19d-4ff707ea1486" providerId="ADAL" clId="{C1361F60-D0BD-41B7-810B-7391F736742D}" dt="2024-09-19T11:29:26.817" v="9" actId="108"/>
        <pc:sldMkLst>
          <pc:docMk/>
          <pc:sldMk cId="3382971070" sldId="2147483592"/>
        </pc:sldMkLst>
        <pc:spChg chg="mod">
          <ac:chgData name="Pytlíček Zdeněk" userId="f1b96d20-667b-444a-b19d-4ff707ea1486" providerId="ADAL" clId="{C1361F60-D0BD-41B7-810B-7391F736742D}" dt="2024-09-19T11:29:26.817" v="9" actId="108"/>
          <ac:spMkLst>
            <pc:docMk/>
            <pc:sldMk cId="3382971070" sldId="2147483592"/>
            <ac:spMk id="12" creationId="{4757B15F-F973-4F1D-EE8F-BF362543652D}"/>
          </ac:spMkLst>
        </pc:spChg>
      </pc:sldChg>
      <pc:sldChg chg="modSp mod">
        <pc:chgData name="Pytlíček Zdeněk" userId="f1b96d20-667b-444a-b19d-4ff707ea1486" providerId="ADAL" clId="{C1361F60-D0BD-41B7-810B-7391F736742D}" dt="2024-09-19T11:29:39.253" v="11" actId="404"/>
        <pc:sldMkLst>
          <pc:docMk/>
          <pc:sldMk cId="1072487974" sldId="2147483593"/>
        </pc:sldMkLst>
        <pc:spChg chg="mod">
          <ac:chgData name="Pytlíček Zdeněk" userId="f1b96d20-667b-444a-b19d-4ff707ea1486" providerId="ADAL" clId="{C1361F60-D0BD-41B7-810B-7391F736742D}" dt="2024-09-19T11:29:39.253" v="11" actId="404"/>
          <ac:spMkLst>
            <pc:docMk/>
            <pc:sldMk cId="1072487974" sldId="2147483593"/>
            <ac:spMk id="12" creationId="{4757B15F-F973-4F1D-EE8F-BF362543652D}"/>
          </ac:spMkLst>
        </pc:spChg>
      </pc:sldChg>
      <pc:sldChg chg="modSp mod">
        <pc:chgData name="Pytlíček Zdeněk" userId="f1b96d20-667b-444a-b19d-4ff707ea1486" providerId="ADAL" clId="{C1361F60-D0BD-41B7-810B-7391F736742D}" dt="2024-09-19T11:30:01.128" v="13" actId="403"/>
        <pc:sldMkLst>
          <pc:docMk/>
          <pc:sldMk cId="4087775555" sldId="2147483594"/>
        </pc:sldMkLst>
        <pc:spChg chg="mod">
          <ac:chgData name="Pytlíček Zdeněk" userId="f1b96d20-667b-444a-b19d-4ff707ea1486" providerId="ADAL" clId="{C1361F60-D0BD-41B7-810B-7391F736742D}" dt="2024-09-19T11:30:01.128" v="13" actId="403"/>
          <ac:spMkLst>
            <pc:docMk/>
            <pc:sldMk cId="4087775555" sldId="2147483594"/>
            <ac:spMk id="24" creationId="{00000000-0000-0000-0000-000000000000}"/>
          </ac:spMkLst>
        </pc:spChg>
      </pc:sldChg>
      <pc:sldChg chg="modSp mod">
        <pc:chgData name="Pytlíček Zdeněk" userId="f1b96d20-667b-444a-b19d-4ff707ea1486" providerId="ADAL" clId="{C1361F60-D0BD-41B7-810B-7391F736742D}" dt="2024-09-19T11:30:05.360" v="14" actId="108"/>
        <pc:sldMkLst>
          <pc:docMk/>
          <pc:sldMk cId="2199549654" sldId="2147483595"/>
        </pc:sldMkLst>
        <pc:spChg chg="mod">
          <ac:chgData name="Pytlíček Zdeněk" userId="f1b96d20-667b-444a-b19d-4ff707ea1486" providerId="ADAL" clId="{C1361F60-D0BD-41B7-810B-7391F736742D}" dt="2024-09-19T11:30:05.360" v="14" actId="108"/>
          <ac:spMkLst>
            <pc:docMk/>
            <pc:sldMk cId="2199549654" sldId="2147483595"/>
            <ac:spMk id="12" creationId="{4757B15F-F973-4F1D-EE8F-BF362543652D}"/>
          </ac:spMkLst>
        </pc:spChg>
      </pc:sldChg>
      <pc:sldChg chg="modSp mod">
        <pc:chgData name="Pytlíček Zdeněk" userId="f1b96d20-667b-444a-b19d-4ff707ea1486" providerId="ADAL" clId="{C1361F60-D0BD-41B7-810B-7391F736742D}" dt="2024-09-19T11:30:19.803" v="17" actId="14100"/>
        <pc:sldMkLst>
          <pc:docMk/>
          <pc:sldMk cId="2079218860" sldId="2147483596"/>
        </pc:sldMkLst>
        <pc:spChg chg="mod">
          <ac:chgData name="Pytlíček Zdeněk" userId="f1b96d20-667b-444a-b19d-4ff707ea1486" providerId="ADAL" clId="{C1361F60-D0BD-41B7-810B-7391F736742D}" dt="2024-09-19T11:30:19.803" v="17" actId="14100"/>
          <ac:spMkLst>
            <pc:docMk/>
            <pc:sldMk cId="2079218860" sldId="2147483596"/>
            <ac:spMk id="12" creationId="{4757B15F-F973-4F1D-EE8F-BF362543652D}"/>
          </ac:spMkLst>
        </pc:spChg>
      </pc:sldChg>
      <pc:sldChg chg="modSp mod">
        <pc:chgData name="Pytlíček Zdeněk" userId="f1b96d20-667b-444a-b19d-4ff707ea1486" providerId="ADAL" clId="{C1361F60-D0BD-41B7-810B-7391F736742D}" dt="2024-09-19T11:30:40.644" v="19" actId="108"/>
        <pc:sldMkLst>
          <pc:docMk/>
          <pc:sldMk cId="3269850412" sldId="2147483597"/>
        </pc:sldMkLst>
        <pc:spChg chg="mod">
          <ac:chgData name="Pytlíček Zdeněk" userId="f1b96d20-667b-444a-b19d-4ff707ea1486" providerId="ADAL" clId="{C1361F60-D0BD-41B7-810B-7391F736742D}" dt="2024-09-19T11:30:40.644" v="19" actId="108"/>
          <ac:spMkLst>
            <pc:docMk/>
            <pc:sldMk cId="3269850412" sldId="2147483597"/>
            <ac:spMk id="24" creationId="{00000000-0000-0000-0000-000000000000}"/>
          </ac:spMkLst>
        </pc:spChg>
      </pc:sldChg>
      <pc:sldChg chg="modSp mod">
        <pc:chgData name="Pytlíček Zdeněk" userId="f1b96d20-667b-444a-b19d-4ff707ea1486" providerId="ADAL" clId="{C1361F60-D0BD-41B7-810B-7391F736742D}" dt="2024-09-19T11:30:49.692" v="20" actId="108"/>
        <pc:sldMkLst>
          <pc:docMk/>
          <pc:sldMk cId="476880697" sldId="2147483598"/>
        </pc:sldMkLst>
        <pc:spChg chg="mod">
          <ac:chgData name="Pytlíček Zdeněk" userId="f1b96d20-667b-444a-b19d-4ff707ea1486" providerId="ADAL" clId="{C1361F60-D0BD-41B7-810B-7391F736742D}" dt="2024-09-19T11:30:49.692" v="20" actId="108"/>
          <ac:spMkLst>
            <pc:docMk/>
            <pc:sldMk cId="476880697" sldId="2147483598"/>
            <ac:spMk id="12" creationId="{4757B15F-F973-4F1D-EE8F-BF362543652D}"/>
          </ac:spMkLst>
        </pc:spChg>
      </pc:sldChg>
      <pc:sldChg chg="modSp mod">
        <pc:chgData name="Pytlíček Zdeněk" userId="f1b96d20-667b-444a-b19d-4ff707ea1486" providerId="ADAL" clId="{C1361F60-D0BD-41B7-810B-7391F736742D}" dt="2024-09-19T11:31:06.438" v="22" actId="404"/>
        <pc:sldMkLst>
          <pc:docMk/>
          <pc:sldMk cId="3914922479" sldId="2147483599"/>
        </pc:sldMkLst>
        <pc:spChg chg="mod">
          <ac:chgData name="Pytlíček Zdeněk" userId="f1b96d20-667b-444a-b19d-4ff707ea1486" providerId="ADAL" clId="{C1361F60-D0BD-41B7-810B-7391F736742D}" dt="2024-09-19T11:31:06.438" v="22" actId="404"/>
          <ac:spMkLst>
            <pc:docMk/>
            <pc:sldMk cId="3914922479" sldId="2147483599"/>
            <ac:spMk id="12" creationId="{4757B15F-F973-4F1D-EE8F-BF362543652D}"/>
          </ac:spMkLst>
        </pc:spChg>
      </pc:sldChg>
      <pc:sldChg chg="modSp mod">
        <pc:chgData name="Pytlíček Zdeněk" userId="f1b96d20-667b-444a-b19d-4ff707ea1486" providerId="ADAL" clId="{C1361F60-D0BD-41B7-810B-7391F736742D}" dt="2024-09-19T11:31:24.940" v="24" actId="403"/>
        <pc:sldMkLst>
          <pc:docMk/>
          <pc:sldMk cId="277605336" sldId="2147483600"/>
        </pc:sldMkLst>
        <pc:spChg chg="mod">
          <ac:chgData name="Pytlíček Zdeněk" userId="f1b96d20-667b-444a-b19d-4ff707ea1486" providerId="ADAL" clId="{C1361F60-D0BD-41B7-810B-7391F736742D}" dt="2024-09-19T11:31:24.940" v="24" actId="403"/>
          <ac:spMkLst>
            <pc:docMk/>
            <pc:sldMk cId="277605336" sldId="2147483600"/>
            <ac:spMk id="24" creationId="{00000000-0000-0000-0000-000000000000}"/>
          </ac:spMkLst>
        </pc:spChg>
      </pc:sldChg>
      <pc:sldChg chg="modSp mod">
        <pc:chgData name="Pytlíček Zdeněk" userId="f1b96d20-667b-444a-b19d-4ff707ea1486" providerId="ADAL" clId="{C1361F60-D0BD-41B7-810B-7391F736742D}" dt="2024-09-19T11:31:36.846" v="26" actId="404"/>
        <pc:sldMkLst>
          <pc:docMk/>
          <pc:sldMk cId="2689905849" sldId="2147483601"/>
        </pc:sldMkLst>
        <pc:spChg chg="mod">
          <ac:chgData name="Pytlíček Zdeněk" userId="f1b96d20-667b-444a-b19d-4ff707ea1486" providerId="ADAL" clId="{C1361F60-D0BD-41B7-810B-7391F736742D}" dt="2024-09-19T11:31:36.846" v="26" actId="404"/>
          <ac:spMkLst>
            <pc:docMk/>
            <pc:sldMk cId="2689905849" sldId="2147483601"/>
            <ac:spMk id="12" creationId="{4757B15F-F973-4F1D-EE8F-BF362543652D}"/>
          </ac:spMkLst>
        </pc:spChg>
      </pc:sldChg>
      <pc:sldChg chg="modSp mod">
        <pc:chgData name="Pytlíček Zdeněk" userId="f1b96d20-667b-444a-b19d-4ff707ea1486" providerId="ADAL" clId="{C1361F60-D0BD-41B7-810B-7391F736742D}" dt="2024-09-19T11:32:06.100" v="31" actId="403"/>
        <pc:sldMkLst>
          <pc:docMk/>
          <pc:sldMk cId="3797411274" sldId="2147483602"/>
        </pc:sldMkLst>
        <pc:spChg chg="mod">
          <ac:chgData name="Pytlíček Zdeněk" userId="f1b96d20-667b-444a-b19d-4ff707ea1486" providerId="ADAL" clId="{C1361F60-D0BD-41B7-810B-7391F736742D}" dt="2024-09-19T11:32:06.100" v="31" actId="403"/>
          <ac:spMkLst>
            <pc:docMk/>
            <pc:sldMk cId="3797411274" sldId="2147483602"/>
            <ac:spMk id="12" creationId="{4757B15F-F973-4F1D-EE8F-BF362543652D}"/>
          </ac:spMkLst>
        </pc:spChg>
      </pc:sldChg>
      <pc:sldChg chg="modSp mod">
        <pc:chgData name="Pytlíček Zdeněk" userId="f1b96d20-667b-444a-b19d-4ff707ea1486" providerId="ADAL" clId="{C1361F60-D0BD-41B7-810B-7391F736742D}" dt="2024-09-19T11:31:42.009" v="27" actId="108"/>
        <pc:sldMkLst>
          <pc:docMk/>
          <pc:sldMk cId="1599884528" sldId="2147483603"/>
        </pc:sldMkLst>
        <pc:spChg chg="mod">
          <ac:chgData name="Pytlíček Zdeněk" userId="f1b96d20-667b-444a-b19d-4ff707ea1486" providerId="ADAL" clId="{C1361F60-D0BD-41B7-810B-7391F736742D}" dt="2024-09-19T11:31:42.009" v="27" actId="108"/>
          <ac:spMkLst>
            <pc:docMk/>
            <pc:sldMk cId="1599884528" sldId="2147483603"/>
            <ac:spMk id="12" creationId="{4757B15F-F973-4F1D-EE8F-BF362543652D}"/>
          </ac:spMkLst>
        </pc:spChg>
      </pc:sldChg>
      <pc:sldChg chg="modSp mod">
        <pc:chgData name="Pytlíček Zdeněk" userId="f1b96d20-667b-444a-b19d-4ff707ea1486" providerId="ADAL" clId="{C1361F60-D0BD-41B7-810B-7391F736742D}" dt="2024-09-19T11:31:56.600" v="29" actId="404"/>
        <pc:sldMkLst>
          <pc:docMk/>
          <pc:sldMk cId="2151969125" sldId="2147483604"/>
        </pc:sldMkLst>
        <pc:spChg chg="mod">
          <ac:chgData name="Pytlíček Zdeněk" userId="f1b96d20-667b-444a-b19d-4ff707ea1486" providerId="ADAL" clId="{C1361F60-D0BD-41B7-810B-7391F736742D}" dt="2024-09-19T11:31:56.600" v="29" actId="404"/>
          <ac:spMkLst>
            <pc:docMk/>
            <pc:sldMk cId="2151969125" sldId="2147483604"/>
            <ac:spMk id="24" creationId="{00000000-0000-0000-0000-000000000000}"/>
          </ac:spMkLst>
        </pc:spChg>
      </pc:sldChg>
      <pc:sldChg chg="modSp mod">
        <pc:chgData name="Pytlíček Zdeněk" userId="f1b96d20-667b-444a-b19d-4ff707ea1486" providerId="ADAL" clId="{C1361F60-D0BD-41B7-810B-7391F736742D}" dt="2024-09-19T11:32:14.867" v="33" actId="403"/>
        <pc:sldMkLst>
          <pc:docMk/>
          <pc:sldMk cId="4287846463" sldId="2147483605"/>
        </pc:sldMkLst>
        <pc:spChg chg="mod">
          <ac:chgData name="Pytlíček Zdeněk" userId="f1b96d20-667b-444a-b19d-4ff707ea1486" providerId="ADAL" clId="{C1361F60-D0BD-41B7-810B-7391F736742D}" dt="2024-09-19T11:32:14.867" v="33" actId="403"/>
          <ac:spMkLst>
            <pc:docMk/>
            <pc:sldMk cId="4287846463" sldId="2147483605"/>
            <ac:spMk id="12" creationId="{4757B15F-F973-4F1D-EE8F-BF362543652D}"/>
          </ac:spMkLst>
        </pc:spChg>
      </pc:sldChg>
      <pc:sldChg chg="modSp mod">
        <pc:chgData name="Pytlíček Zdeněk" userId="f1b96d20-667b-444a-b19d-4ff707ea1486" providerId="ADAL" clId="{C1361F60-D0BD-41B7-810B-7391F736742D}" dt="2024-09-19T11:32:31.895" v="38" actId="14100"/>
        <pc:sldMkLst>
          <pc:docMk/>
          <pc:sldMk cId="3606197900" sldId="2147483606"/>
        </pc:sldMkLst>
        <pc:spChg chg="mod">
          <ac:chgData name="Pytlíček Zdeněk" userId="f1b96d20-667b-444a-b19d-4ff707ea1486" providerId="ADAL" clId="{C1361F60-D0BD-41B7-810B-7391F736742D}" dt="2024-09-19T11:32:31.895" v="38" actId="14100"/>
          <ac:spMkLst>
            <pc:docMk/>
            <pc:sldMk cId="3606197900" sldId="2147483606"/>
            <ac:spMk id="12" creationId="{4757B15F-F973-4F1D-EE8F-BF362543652D}"/>
          </ac:spMkLst>
        </pc:spChg>
      </pc:sldChg>
      <pc:sldChg chg="modSp mod">
        <pc:chgData name="Pytlíček Zdeněk" userId="f1b96d20-667b-444a-b19d-4ff707ea1486" providerId="ADAL" clId="{C1361F60-D0BD-41B7-810B-7391F736742D}" dt="2024-09-20T09:21:01.226" v="545" actId="1036"/>
        <pc:sldMkLst>
          <pc:docMk/>
          <pc:sldMk cId="1092715146" sldId="2147483607"/>
        </pc:sldMkLst>
        <pc:spChg chg="mod">
          <ac:chgData name="Pytlíček Zdeněk" userId="f1b96d20-667b-444a-b19d-4ff707ea1486" providerId="ADAL" clId="{C1361F60-D0BD-41B7-810B-7391F736742D}" dt="2024-09-19T11:33:20.273" v="80" actId="122"/>
          <ac:spMkLst>
            <pc:docMk/>
            <pc:sldMk cId="1092715146" sldId="2147483607"/>
            <ac:spMk id="2" creationId="{82F9C02E-6E50-426A-BD5A-84DF309B4E9D}"/>
          </ac:spMkLst>
        </pc:spChg>
        <pc:spChg chg="mod">
          <ac:chgData name="Pytlíček Zdeněk" userId="f1b96d20-667b-444a-b19d-4ff707ea1486" providerId="ADAL" clId="{C1361F60-D0BD-41B7-810B-7391F736742D}" dt="2024-09-20T09:21:01.226" v="545" actId="1036"/>
          <ac:spMkLst>
            <pc:docMk/>
            <pc:sldMk cId="1092715146" sldId="2147483607"/>
            <ac:spMk id="5" creationId="{87E35A90-CA44-4E75-AEE4-A4F0AE97B002}"/>
          </ac:spMkLst>
        </pc:spChg>
        <pc:spChg chg="mod">
          <ac:chgData name="Pytlíček Zdeněk" userId="f1b96d20-667b-444a-b19d-4ff707ea1486" providerId="ADAL" clId="{C1361F60-D0BD-41B7-810B-7391F736742D}" dt="2024-09-20T09:18:11.205" v="521" actId="20577"/>
          <ac:spMkLst>
            <pc:docMk/>
            <pc:sldMk cId="1092715146" sldId="2147483607"/>
            <ac:spMk id="8" creationId="{BB75BBAA-EDB1-4CB3-A906-FD28D7B2A040}"/>
          </ac:spMkLst>
        </pc:spChg>
        <pc:spChg chg="mod">
          <ac:chgData name="Pytlíček Zdeněk" userId="f1b96d20-667b-444a-b19d-4ff707ea1486" providerId="ADAL" clId="{C1361F60-D0BD-41B7-810B-7391F736742D}" dt="2024-09-20T09:20:26.982" v="540" actId="1076"/>
          <ac:spMkLst>
            <pc:docMk/>
            <pc:sldMk cId="1092715146" sldId="2147483607"/>
            <ac:spMk id="9" creationId="{010907F1-75D5-3970-5CFF-FA2E5B4571B0}"/>
          </ac:spMkLst>
        </pc:spChg>
      </pc:sldChg>
    </pc:docChg>
  </pc:docChgLst>
</pc:chgInfo>
</file>

<file path=ppt/comments/modernComment_7FFFFFC3_EBECD394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3C89C920-B52A-4FE1-9DF3-4B8AAE7EB3BD}" authorId="{9A2D5336-2061-88A5-581C-0D790ECED7A2}" created="2024-09-19T11:14:24.518">
    <pc:sldMkLst xmlns:pc="http://schemas.microsoft.com/office/powerpoint/2013/main/command">
      <pc:docMk/>
      <pc:sldMk cId="3958166420" sldId="2147483587"/>
    </pc:sldMkLst>
    <p188:txBody>
      <a:bodyPr/>
      <a:lstStyle/>
      <a:p>
        <a:r>
          <a:rPr lang="cs-CZ"/>
          <a:t>Jiné písmo než na slidu 3</a:t>
        </a:r>
      </a:p>
    </p188:txBody>
  </p188:cm>
</p188:cmLst>
</file>

<file path=ppt/comments/modernComment_7FFFFFCD_C2E5F52C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94280987-6035-4548-8485-22ADB79C4281}" authorId="{9A2D5336-2061-88A5-581C-0D790ECED7A2}" created="2024-09-19T05:52:32.057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3269850412" sldId="2147483597"/>
      <ac:spMk id="6" creationId="{ED73500A-1872-D8A8-C9DC-32DF67272440}"/>
    </ac:deMkLst>
    <p188:txBody>
      <a:bodyPr/>
      <a:lstStyle/>
      <a:p>
        <a:r>
          <a:rPr lang="cs-CZ"/>
          <a:t>Přenos může být i z jiného systému</a:t>
        </a:r>
      </a:p>
    </p188:txBody>
    <p188:extLst>
      <p:ext xmlns:p="http://schemas.openxmlformats.org/presentationml/2006/main" uri="{57CB4572-C831-44C2-8A1C-0ADB6CCDFE69}">
        <p223:reactions xmlns="" xmlns:p223="http://schemas.microsoft.com/office/powerpoint/2022/03/main">
          <p223:rxn type="👍">
            <p223:instance time="2024-09-19T06:38:48.517" authorId="{FBA4B00C-7085-DF13-BDC9-47494F25F692}"/>
          </p223:rxn>
        </p223:reactions>
      </p:ext>
    </p188:extLst>
  </p188:cm>
</p188:cmLst>
</file>

<file path=ppt/comments/modernComment_7FFFFFCE_1C6C9F39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6B72AEE8-F292-45CF-ACB6-B73F3553795F}" authorId="{9A2D5336-2061-88A5-581C-0D790ECED7A2}" status="resolved" created="2024-09-19T05:53:23.183" complete="100000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476880697" sldId="2147483598"/>
      <ac:spMk id="12" creationId="{4757B15F-F973-4F1D-EE8F-BF362543652D}"/>
    </ac:deMkLst>
    <p188:txBody>
      <a:bodyPr/>
      <a:lstStyle/>
      <a:p>
        <a:r>
          <a:rPr lang="cs-CZ"/>
          <a:t>Excel tu je jen na demonstraci, může to být z webové stránky/ze systému, který danou věc neumí</a:t>
        </a:r>
      </a:p>
    </p188:txBody>
  </p188:cm>
</p188:cmLst>
</file>

<file path=ppt/comments/modernComment_7FFFFFD0_108BEBD8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DC2B3591-76A6-4D53-A5B7-38E4A66FF367}" authorId="{9A2D5336-2061-88A5-581C-0D790ECED7A2}" created="2024-09-19T05:54:37.795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277605336" sldId="2147483600"/>
      <ac:spMk id="24" creationId="{00000000-0000-0000-0000-000000000000}"/>
    </ac:deMkLst>
    <p188:txBody>
      <a:bodyPr/>
      <a:lstStyle/>
      <a:p>
        <a:r>
          <a:rPr lang="cs-CZ"/>
          <a:t>Používáme např. po narovnání změn po migraci/úklid v datech - nevyplatí se programové změny, potřebujeme rychle opravit stovky položek</a:t>
        </a:r>
      </a:p>
    </p188:txBody>
  </p188:cm>
</p188:cmLst>
</file>

<file path=ppt/comments/modernComment_7FFFFFD4_80447165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B5C0A7D2-5586-4B1E-A0D9-4089A98FB194}" authorId="{9A2D5336-2061-88A5-581C-0D790ECED7A2}" status="resolved" created="2024-09-19T05:55:31.327" complete="100000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2151969125" sldId="2147483604"/>
      <ac:spMk id="24" creationId="{00000000-0000-0000-0000-000000000000}"/>
    </ac:deMkLst>
    <p188:txBody>
      <a:bodyPr/>
      <a:lstStyle/>
      <a:p>
        <a:r>
          <a:rPr lang="cs-CZ"/>
          <a:t>Pokud se nevyplatí/není možné přímá integrace systémů</a:t>
        </a:r>
      </a:p>
    </p188:txBody>
    <p188:extLst>
      <p:ext xmlns:p="http://schemas.openxmlformats.org/presentationml/2006/main" uri="{57CB4572-C831-44C2-8A1C-0ADB6CCDFE69}">
        <p223:reactions xmlns="" xmlns:p223="http://schemas.microsoft.com/office/powerpoint/2022/03/main">
          <p223:rxn type="👍">
            <p223:instance time="2024-09-19T06:40:21.773" authorId="{FBA4B00C-7085-DF13-BDC9-47494F25F692}"/>
          </p223:rxn>
        </p223:reactions>
      </p:ext>
    </p188:extLst>
  </p188:cm>
</p188:cmLst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4">
  <dgm:title val=""/>
  <dgm:desc val=""/>
  <dgm:catLst>
    <dgm:cat type="accent1" pri="11400"/>
  </dgm:catLst>
  <dgm:styleLbl name="node0">
    <dgm:fillClrLst meth="cycle">
      <a:schemeClr val="accent1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1">
        <a:shade val="50000"/>
      </a:schemeClr>
      <a:schemeClr val="accent1">
        <a:tint val="55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/>
    <dgm:txEffectClrLst/>
  </dgm:styleLbl>
  <dgm:styleLbl name="ln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1">
        <a:shade val="80000"/>
        <a:alpha val="50000"/>
      </a:schemeClr>
      <a:schemeClr val="accent1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55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E784821-FC1D-4D80-905A-D0F9BD94C7ED}" type="doc">
      <dgm:prSet loTypeId="urn:microsoft.com/office/officeart/2009/3/layout/IncreasingArrowsProcess" loCatId="process" qsTypeId="urn:microsoft.com/office/officeart/2005/8/quickstyle/simple5" qsCatId="simple" csTypeId="urn:microsoft.com/office/officeart/2005/8/colors/colorful2" csCatId="colorful" phldr="1"/>
      <dgm:spPr/>
      <dgm:t>
        <a:bodyPr/>
        <a:lstStyle/>
        <a:p>
          <a:endParaRPr lang="cs-CZ"/>
        </a:p>
      </dgm:t>
    </dgm:pt>
    <dgm:pt modelId="{FB130D52-C06D-4340-AFFB-4F22214E0B59}">
      <dgm:prSet phldrT="[Text]" custT="1"/>
      <dgm:spPr>
        <a:ln>
          <a:solidFill>
            <a:schemeClr val="tx1"/>
          </a:solidFill>
        </a:ln>
        <a:effectLst/>
        <a:scene3d>
          <a:camera prst="isometricTopDown" fov="0">
            <a:rot lat="0" lon="0" rev="0"/>
          </a:camera>
          <a:lightRig rig="balanced" dir="t">
            <a:rot lat="0" lon="0" rev="13800000"/>
          </a:lightRig>
        </a:scene3d>
        <a:sp3d extrusionH="12700" prstMaterial="plastic">
          <a:contourClr>
            <a:scrgbClr r="0" g="0" b="0"/>
          </a:contourClr>
        </a:sp3d>
      </dgm:spPr>
      <dgm:t>
        <a:bodyPr/>
        <a:lstStyle/>
        <a:p>
          <a:r>
            <a:rPr lang="cs-CZ" sz="1800" b="1" cap="none" spc="0">
              <a:ln w="22225">
                <a:prstDash val="solid"/>
              </a:ln>
              <a:effectLst/>
            </a:rPr>
            <a:t>Optimalizace</a:t>
          </a:r>
        </a:p>
      </dgm:t>
    </dgm:pt>
    <dgm:pt modelId="{7FB41D32-48BE-4D68-B4A1-A4B4606AFE4B}" type="parTrans" cxnId="{9F1937C3-E411-49CE-BFEB-1DCBD778C1A1}">
      <dgm:prSet/>
      <dgm:spPr/>
      <dgm:t>
        <a:bodyPr/>
        <a:lstStyle/>
        <a:p>
          <a:endParaRPr lang="cs-CZ" sz="1600" b="1"/>
        </a:p>
      </dgm:t>
    </dgm:pt>
    <dgm:pt modelId="{FEC7453D-977E-48BC-A0ED-1246F4B43747}" type="sibTrans" cxnId="{9F1937C3-E411-49CE-BFEB-1DCBD778C1A1}">
      <dgm:prSet/>
      <dgm:spPr/>
      <dgm:t>
        <a:bodyPr/>
        <a:lstStyle/>
        <a:p>
          <a:endParaRPr lang="cs-CZ" sz="1600" b="1"/>
        </a:p>
      </dgm:t>
    </dgm:pt>
    <dgm:pt modelId="{309B57D0-6EDD-4B86-AF0C-99E6BF7AEB15}">
      <dgm:prSet phldrT="[Text]" custT="1"/>
      <dgm:spPr>
        <a:effectLst/>
        <a:scene3d>
          <a:camera prst="orthographicFront"/>
          <a:lightRig rig="balanced" dir="t">
            <a:rot lat="0" lon="0" rev="13800000"/>
          </a:lightRig>
        </a:scene3d>
        <a:sp3d extrusionH="12700" prstMaterial="plastic">
          <a:contourClr>
            <a:scrgbClr r="0" g="0" b="0"/>
          </a:contourClr>
        </a:sp3d>
      </dgm:spPr>
      <dgm:t>
        <a:bodyPr/>
        <a:lstStyle/>
        <a:p>
          <a:r>
            <a:rPr lang="cs-CZ" sz="1600" b="1"/>
            <a:t>Nekonečná práce na zjednodušování procesů</a:t>
          </a:r>
        </a:p>
      </dgm:t>
    </dgm:pt>
    <dgm:pt modelId="{3247FDA4-3798-4D3C-8BFD-BCC21F95C2A0}" type="parTrans" cxnId="{25DD0632-72BF-4AE6-8E62-7A574A07FF05}">
      <dgm:prSet/>
      <dgm:spPr/>
      <dgm:t>
        <a:bodyPr/>
        <a:lstStyle/>
        <a:p>
          <a:endParaRPr lang="cs-CZ" sz="1600" b="1"/>
        </a:p>
      </dgm:t>
    </dgm:pt>
    <dgm:pt modelId="{769F3C15-0559-4A8E-BB33-78284E7DD00F}" type="sibTrans" cxnId="{25DD0632-72BF-4AE6-8E62-7A574A07FF05}">
      <dgm:prSet/>
      <dgm:spPr/>
      <dgm:t>
        <a:bodyPr/>
        <a:lstStyle/>
        <a:p>
          <a:endParaRPr lang="cs-CZ" sz="1600" b="1"/>
        </a:p>
      </dgm:t>
    </dgm:pt>
    <dgm:pt modelId="{7B618745-ABF0-479D-A582-E9597C0CED6D}">
      <dgm:prSet phldrT="[Text]" custT="1"/>
      <dgm:spPr>
        <a:solidFill>
          <a:srgbClr val="049F9A">
            <a:hueOff val="-1037612"/>
            <a:satOff val="-6291"/>
            <a:lumOff val="1472"/>
            <a:alphaOff val="0"/>
          </a:srgbClr>
        </a:solidFill>
        <a:ln>
          <a:solidFill>
            <a:srgbClr val="000000"/>
          </a:solidFill>
        </a:ln>
        <a:effectLst/>
        <a:scene3d>
          <a:camera prst="isometricTopDown" fov="0">
            <a:rot lat="0" lon="0" rev="0"/>
          </a:camera>
          <a:lightRig rig="balanced" dir="t">
            <a:rot lat="0" lon="0" rev="13800000"/>
          </a:lightRig>
        </a:scene3d>
        <a:sp3d extrusionH="12700" prstMaterial="plastic">
          <a:contourClr>
            <a:scrgbClr r="0" g="0" b="0"/>
          </a:contourClr>
        </a:sp3d>
      </dgm:spPr>
      <dgm:t>
        <a:bodyPr spcFirstLastPara="0" vert="horz" wrap="square" lIns="76200" tIns="76200" rIns="254000" bIns="220562" numCol="1" spcCol="1270" anchor="ctr" anchorCtr="0"/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800" b="1" kern="1200" cap="none" spc="0">
              <a:ln w="22225">
                <a:prstDash val="solid"/>
              </a:ln>
              <a:solidFill>
                <a:srgbClr val="FFFFFF"/>
              </a:solidFill>
              <a:effectLst/>
              <a:latin typeface="72 Brand"/>
              <a:ea typeface="+mn-ea"/>
              <a:cs typeface="+mn-cs"/>
            </a:rPr>
            <a:t>Digitalizace</a:t>
          </a:r>
        </a:p>
      </dgm:t>
    </dgm:pt>
    <dgm:pt modelId="{287AA1F8-3B48-4E38-80E2-1AA0370D19D2}" type="parTrans" cxnId="{5E1E35D2-0CAB-4C0C-B908-486747FB3A58}">
      <dgm:prSet/>
      <dgm:spPr/>
      <dgm:t>
        <a:bodyPr/>
        <a:lstStyle/>
        <a:p>
          <a:endParaRPr lang="cs-CZ" sz="1600" b="1"/>
        </a:p>
      </dgm:t>
    </dgm:pt>
    <dgm:pt modelId="{C0466288-2B97-4185-83A4-1403C7ABBFB0}" type="sibTrans" cxnId="{5E1E35D2-0CAB-4C0C-B908-486747FB3A58}">
      <dgm:prSet/>
      <dgm:spPr/>
      <dgm:t>
        <a:bodyPr/>
        <a:lstStyle/>
        <a:p>
          <a:endParaRPr lang="cs-CZ" sz="1600" b="1"/>
        </a:p>
      </dgm:t>
    </dgm:pt>
    <dgm:pt modelId="{77B96800-EAE4-4978-9F0D-2C70DA7798AA}">
      <dgm:prSet phldrT="[Text]" custT="1"/>
      <dgm:spPr>
        <a:effectLst/>
        <a:scene3d>
          <a:camera prst="orthographicFront"/>
          <a:lightRig rig="balanced" dir="t">
            <a:rot lat="0" lon="0" rev="13800000"/>
          </a:lightRig>
        </a:scene3d>
        <a:sp3d extrusionH="12700" prstMaterial="plastic">
          <a:contourClr>
            <a:scrgbClr r="0" g="0" b="0"/>
          </a:contourClr>
        </a:sp3d>
      </dgm:spPr>
      <dgm:t>
        <a:bodyPr/>
        <a:lstStyle/>
        <a:p>
          <a:r>
            <a:rPr lang="cs-CZ" sz="1600" b="1"/>
            <a:t>Analogový proces nelze digitalizovat 1:1</a:t>
          </a:r>
        </a:p>
      </dgm:t>
    </dgm:pt>
    <dgm:pt modelId="{CFD4B700-1236-4A98-BE46-0232263A82CE}" type="parTrans" cxnId="{30866FAC-014F-417C-849A-50289F9B3AEF}">
      <dgm:prSet/>
      <dgm:spPr/>
      <dgm:t>
        <a:bodyPr/>
        <a:lstStyle/>
        <a:p>
          <a:endParaRPr lang="cs-CZ" sz="1600" b="1"/>
        </a:p>
      </dgm:t>
    </dgm:pt>
    <dgm:pt modelId="{27E06D5F-5A24-47E9-9AB4-49F09A3C0A96}" type="sibTrans" cxnId="{30866FAC-014F-417C-849A-50289F9B3AEF}">
      <dgm:prSet/>
      <dgm:spPr/>
      <dgm:t>
        <a:bodyPr/>
        <a:lstStyle/>
        <a:p>
          <a:endParaRPr lang="cs-CZ" sz="1600" b="1"/>
        </a:p>
      </dgm:t>
    </dgm:pt>
    <dgm:pt modelId="{A6F8D434-51E0-4D69-87C1-CD77ADC9706C}">
      <dgm:prSet phldrT="[Text]" custT="1"/>
      <dgm:spPr>
        <a:ln>
          <a:solidFill>
            <a:schemeClr val="tx1"/>
          </a:solidFill>
        </a:ln>
        <a:effectLst/>
        <a:scene3d>
          <a:camera prst="isometricTopDown" fov="0">
            <a:rot lat="0" lon="0" rev="0"/>
          </a:camera>
          <a:lightRig rig="balanced" dir="t">
            <a:rot lat="0" lon="0" rev="13800000"/>
          </a:lightRig>
        </a:scene3d>
        <a:sp3d extrusionH="12700" prstMaterial="plastic">
          <a:contourClr>
            <a:scrgbClr r="0" g="0" b="0"/>
          </a:contourClr>
        </a:sp3d>
      </dgm:spPr>
      <dgm:t>
        <a:bodyPr/>
        <a:lstStyle/>
        <a:p>
          <a:r>
            <a:rPr lang="cs-CZ" sz="1800" b="1" cap="none" spc="0">
              <a:ln w="22225">
                <a:prstDash val="solid"/>
              </a:ln>
              <a:effectLst/>
            </a:rPr>
            <a:t>Automatizace</a:t>
          </a:r>
        </a:p>
      </dgm:t>
    </dgm:pt>
    <dgm:pt modelId="{86E7A34F-63A2-467F-8A8D-4C85CD6B79AC}" type="parTrans" cxnId="{0302B565-FDB3-4420-9815-975BCEAD5ABC}">
      <dgm:prSet/>
      <dgm:spPr/>
      <dgm:t>
        <a:bodyPr/>
        <a:lstStyle/>
        <a:p>
          <a:endParaRPr lang="cs-CZ" sz="1600" b="1"/>
        </a:p>
      </dgm:t>
    </dgm:pt>
    <dgm:pt modelId="{611DADE0-00C8-41EB-933B-95AFF271D318}" type="sibTrans" cxnId="{0302B565-FDB3-4420-9815-975BCEAD5ABC}">
      <dgm:prSet/>
      <dgm:spPr/>
      <dgm:t>
        <a:bodyPr/>
        <a:lstStyle/>
        <a:p>
          <a:endParaRPr lang="cs-CZ" sz="1600" b="1"/>
        </a:p>
      </dgm:t>
    </dgm:pt>
    <dgm:pt modelId="{3B6E8F2F-FFF0-4828-914B-D68538CEE667}">
      <dgm:prSet phldrT="[Text]" custT="1"/>
      <dgm:spPr>
        <a:effectLst/>
        <a:scene3d>
          <a:camera prst="orthographicFront"/>
          <a:lightRig rig="balanced" dir="t">
            <a:rot lat="0" lon="0" rev="13800000"/>
          </a:lightRig>
        </a:scene3d>
        <a:sp3d extrusionH="12700" prstMaterial="plastic">
          <a:contourClr>
            <a:scrgbClr r="0" g="0" b="0"/>
          </a:contourClr>
        </a:sp3d>
      </dgm:spPr>
      <dgm:t>
        <a:bodyPr/>
        <a:lstStyle/>
        <a:p>
          <a:r>
            <a:rPr lang="cs-CZ" sz="1600" b="1"/>
            <a:t>Jednotlivé transakce v rámci jedné aplikace nebo ERP modulu</a:t>
          </a:r>
        </a:p>
      </dgm:t>
    </dgm:pt>
    <dgm:pt modelId="{084BAF25-63FD-4766-8A62-18BA2E4DBC78}" type="parTrans" cxnId="{B171BAB3-6EA1-45D1-BB4D-EEA1DBBF9B76}">
      <dgm:prSet/>
      <dgm:spPr/>
      <dgm:t>
        <a:bodyPr/>
        <a:lstStyle/>
        <a:p>
          <a:endParaRPr lang="cs-CZ" sz="1600" b="1"/>
        </a:p>
      </dgm:t>
    </dgm:pt>
    <dgm:pt modelId="{28BC0B73-6D42-49AA-8293-5C070C87CCF1}" type="sibTrans" cxnId="{B171BAB3-6EA1-45D1-BB4D-EEA1DBBF9B76}">
      <dgm:prSet/>
      <dgm:spPr/>
      <dgm:t>
        <a:bodyPr/>
        <a:lstStyle/>
        <a:p>
          <a:endParaRPr lang="cs-CZ" sz="1600" b="1"/>
        </a:p>
      </dgm:t>
    </dgm:pt>
    <dgm:pt modelId="{1B50BFD9-148E-4384-B823-369DA6C9C2C4}">
      <dgm:prSet phldrT="[Text]" custT="1"/>
      <dgm:spPr>
        <a:ln>
          <a:solidFill>
            <a:schemeClr val="tx1"/>
          </a:solidFill>
        </a:ln>
        <a:effectLst/>
        <a:scene3d>
          <a:camera prst="isometricTopDown" fov="0">
            <a:rot lat="0" lon="0" rev="0"/>
          </a:camera>
          <a:lightRig rig="balanced" dir="t">
            <a:rot lat="0" lon="0" rev="13800000"/>
          </a:lightRig>
        </a:scene3d>
        <a:sp3d extrusionH="12700" prstMaterial="plastic">
          <a:contourClr>
            <a:scrgbClr r="0" g="0" b="0"/>
          </a:contourClr>
        </a:sp3d>
      </dgm:spPr>
      <dgm:t>
        <a:bodyPr/>
        <a:lstStyle/>
        <a:p>
          <a:r>
            <a:rPr lang="cs-CZ" sz="1800" b="1" cap="none" spc="0" dirty="0">
              <a:ln w="22225">
                <a:prstDash val="solid"/>
              </a:ln>
              <a:effectLst/>
            </a:rPr>
            <a:t>Robotizace</a:t>
          </a:r>
        </a:p>
      </dgm:t>
    </dgm:pt>
    <dgm:pt modelId="{3F512177-EC3A-4470-8866-B76DA3710C99}" type="parTrans" cxnId="{3C19A5D5-67BC-46CC-90BF-403DDC6074CE}">
      <dgm:prSet/>
      <dgm:spPr/>
      <dgm:t>
        <a:bodyPr/>
        <a:lstStyle/>
        <a:p>
          <a:endParaRPr lang="cs-CZ" sz="1600" b="1"/>
        </a:p>
      </dgm:t>
    </dgm:pt>
    <dgm:pt modelId="{E75AF969-7F92-40AD-9FEF-FE910C2F5286}" type="sibTrans" cxnId="{3C19A5D5-67BC-46CC-90BF-403DDC6074CE}">
      <dgm:prSet/>
      <dgm:spPr/>
      <dgm:t>
        <a:bodyPr/>
        <a:lstStyle/>
        <a:p>
          <a:endParaRPr lang="cs-CZ" sz="1600" b="1"/>
        </a:p>
      </dgm:t>
    </dgm:pt>
    <dgm:pt modelId="{ED2DB1F7-56F4-4A06-B861-C9698C6FED81}">
      <dgm:prSet phldrT="[Text]" custT="1"/>
      <dgm:spPr>
        <a:effectLst/>
        <a:scene3d>
          <a:camera prst="orthographicFront"/>
          <a:lightRig rig="balanced" dir="t">
            <a:rot lat="0" lon="0" rev="13800000"/>
          </a:lightRig>
        </a:scene3d>
        <a:sp3d extrusionH="12700" prstMaterial="plastic">
          <a:contourClr>
            <a:scrgbClr r="0" g="0" b="0"/>
          </a:contourClr>
        </a:sp3d>
      </dgm:spPr>
      <dgm:t>
        <a:bodyPr/>
        <a:lstStyle/>
        <a:p>
          <a:r>
            <a:rPr lang="cs-CZ" sz="1600" b="1"/>
            <a:t>Komplexní automatizace E2E procesů</a:t>
          </a:r>
        </a:p>
      </dgm:t>
    </dgm:pt>
    <dgm:pt modelId="{C3E7341E-1D8B-4DF0-910F-A303EA1CD71D}" type="parTrans" cxnId="{BB68E4A1-9551-4824-AF9D-B1780D21C701}">
      <dgm:prSet/>
      <dgm:spPr/>
      <dgm:t>
        <a:bodyPr/>
        <a:lstStyle/>
        <a:p>
          <a:endParaRPr lang="cs-CZ" sz="1600" b="1"/>
        </a:p>
      </dgm:t>
    </dgm:pt>
    <dgm:pt modelId="{84C214BB-FBD8-409D-85F2-DA416AA567D8}" type="sibTrans" cxnId="{BB68E4A1-9551-4824-AF9D-B1780D21C701}">
      <dgm:prSet/>
      <dgm:spPr/>
      <dgm:t>
        <a:bodyPr/>
        <a:lstStyle/>
        <a:p>
          <a:endParaRPr lang="cs-CZ" sz="1600" b="1"/>
        </a:p>
      </dgm:t>
    </dgm:pt>
    <dgm:pt modelId="{D26B614B-B687-40F0-B931-A92C5685BBEA}">
      <dgm:prSet phldrT="[Text]" custT="1"/>
      <dgm:spPr>
        <a:ln>
          <a:solidFill>
            <a:schemeClr val="tx1"/>
          </a:solidFill>
        </a:ln>
        <a:effectLst/>
        <a:scene3d>
          <a:camera prst="isometricTopDown" fov="0">
            <a:rot lat="0" lon="0" rev="0"/>
          </a:camera>
          <a:lightRig rig="balanced" dir="t">
            <a:rot lat="0" lon="0" rev="13800000"/>
          </a:lightRig>
        </a:scene3d>
        <a:sp3d extrusionH="12700" prstMaterial="plastic">
          <a:contourClr>
            <a:scrgbClr r="0" g="0" b="0"/>
          </a:contourClr>
        </a:sp3d>
      </dgm:spPr>
      <dgm:t>
        <a:bodyPr anchor="t"/>
        <a:lstStyle/>
        <a:p>
          <a:r>
            <a:rPr lang="cs-CZ" sz="1800" b="1"/>
            <a:t>Umělá inteligence</a:t>
          </a:r>
        </a:p>
      </dgm:t>
    </dgm:pt>
    <dgm:pt modelId="{5B1D1398-D1F1-4066-987E-6DBC8FCB5B98}" type="parTrans" cxnId="{4DEAA03F-38BD-4769-A07F-812BC65FEE17}">
      <dgm:prSet/>
      <dgm:spPr/>
      <dgm:t>
        <a:bodyPr/>
        <a:lstStyle/>
        <a:p>
          <a:endParaRPr lang="cs-CZ"/>
        </a:p>
      </dgm:t>
    </dgm:pt>
    <dgm:pt modelId="{2E1FEAE3-154D-4A6D-A5F2-B4E08B70FDB0}" type="sibTrans" cxnId="{4DEAA03F-38BD-4769-A07F-812BC65FEE17}">
      <dgm:prSet/>
      <dgm:spPr/>
      <dgm:t>
        <a:bodyPr/>
        <a:lstStyle/>
        <a:p>
          <a:endParaRPr lang="cs-CZ"/>
        </a:p>
      </dgm:t>
    </dgm:pt>
    <dgm:pt modelId="{02342EBE-E014-4525-AD20-1542F13D501C}">
      <dgm:prSet phldrT="[Text]" custT="1"/>
      <dgm:spPr>
        <a:effectLst/>
        <a:scene3d>
          <a:camera prst="orthographicFront"/>
          <a:lightRig rig="balanced" dir="t">
            <a:rot lat="0" lon="0" rev="13800000"/>
          </a:lightRig>
        </a:scene3d>
        <a:sp3d extrusionH="12700" prstMaterial="plastic">
          <a:contourClr>
            <a:scrgbClr r="0" g="0" b="0"/>
          </a:contourClr>
        </a:sp3d>
      </dgm:spPr>
      <dgm:t>
        <a:bodyPr/>
        <a:lstStyle/>
        <a:p>
          <a:r>
            <a:rPr lang="cs-CZ" sz="1600" b="1"/>
            <a:t>Strojové učení,  chatboty, řízení procesů</a:t>
          </a:r>
        </a:p>
      </dgm:t>
    </dgm:pt>
    <dgm:pt modelId="{2DB5250F-9CF6-4F2C-86A1-34FED6504B54}" type="parTrans" cxnId="{D39DF87B-649C-4817-8D58-A10F35AA2A9B}">
      <dgm:prSet/>
      <dgm:spPr/>
      <dgm:t>
        <a:bodyPr/>
        <a:lstStyle/>
        <a:p>
          <a:endParaRPr lang="cs-CZ"/>
        </a:p>
      </dgm:t>
    </dgm:pt>
    <dgm:pt modelId="{0C545653-7D74-48CC-AE8B-CB3E80386D02}" type="sibTrans" cxnId="{D39DF87B-649C-4817-8D58-A10F35AA2A9B}">
      <dgm:prSet/>
      <dgm:spPr/>
      <dgm:t>
        <a:bodyPr/>
        <a:lstStyle/>
        <a:p>
          <a:endParaRPr lang="cs-CZ"/>
        </a:p>
      </dgm:t>
    </dgm:pt>
    <dgm:pt modelId="{3E984C35-6834-42F4-8606-263DA0E3A343}" type="pres">
      <dgm:prSet presAssocID="{2E784821-FC1D-4D80-905A-D0F9BD94C7ED}" presName="Name0" presStyleCnt="0">
        <dgm:presLayoutVars>
          <dgm:chMax val="5"/>
          <dgm:chPref val="5"/>
          <dgm:dir/>
          <dgm:animLvl val="lvl"/>
        </dgm:presLayoutVars>
      </dgm:prSet>
      <dgm:spPr/>
    </dgm:pt>
    <dgm:pt modelId="{457B46D0-1379-4665-B636-F67F832310B7}" type="pres">
      <dgm:prSet presAssocID="{FB130D52-C06D-4340-AFFB-4F22214E0B59}" presName="parentText1" presStyleLbl="node1" presStyleIdx="0" presStyleCnt="5">
        <dgm:presLayoutVars>
          <dgm:chMax/>
          <dgm:chPref val="3"/>
          <dgm:bulletEnabled val="1"/>
        </dgm:presLayoutVars>
      </dgm:prSet>
      <dgm:spPr/>
    </dgm:pt>
    <dgm:pt modelId="{76E5975E-7E41-4DD7-9480-F2FBF7AD10EB}" type="pres">
      <dgm:prSet presAssocID="{FB130D52-C06D-4340-AFFB-4F22214E0B59}" presName="childText1" presStyleLbl="solidAlignAcc1" presStyleIdx="0" presStyleCnt="5" custScaleY="57575" custLinFactNeighborX="-153" custLinFactNeighborY="-23341">
        <dgm:presLayoutVars>
          <dgm:chMax val="0"/>
          <dgm:chPref val="0"/>
          <dgm:bulletEnabled val="1"/>
        </dgm:presLayoutVars>
      </dgm:prSet>
      <dgm:spPr/>
    </dgm:pt>
    <dgm:pt modelId="{66AADD52-CE12-4401-8509-F2B3FBC809BF}" type="pres">
      <dgm:prSet presAssocID="{7B618745-ABF0-479D-A582-E9597C0CED6D}" presName="parentText2" presStyleLbl="node1" presStyleIdx="1" presStyleCnt="5">
        <dgm:presLayoutVars>
          <dgm:chMax/>
          <dgm:chPref val="3"/>
          <dgm:bulletEnabled val="1"/>
        </dgm:presLayoutVars>
      </dgm:prSet>
      <dgm:spPr>
        <a:xfrm>
          <a:off x="2605319" y="799640"/>
          <a:ext cx="7788119" cy="1389365"/>
        </a:xfrm>
        <a:prstGeom prst="rightArrow">
          <a:avLst>
            <a:gd name="adj1" fmla="val 50000"/>
            <a:gd name="adj2" fmla="val 50000"/>
          </a:avLst>
        </a:prstGeom>
      </dgm:spPr>
    </dgm:pt>
    <dgm:pt modelId="{A6FDF715-17DB-4546-9B08-1FFEDB11CEAE}" type="pres">
      <dgm:prSet presAssocID="{7B618745-ABF0-479D-A582-E9597C0CED6D}" presName="childText2" presStyleLbl="solidAlignAcc1" presStyleIdx="1" presStyleCnt="5" custScaleY="64518" custLinFactNeighborX="0" custLinFactNeighborY="-20912">
        <dgm:presLayoutVars>
          <dgm:chMax val="0"/>
          <dgm:chPref val="0"/>
          <dgm:bulletEnabled val="1"/>
        </dgm:presLayoutVars>
      </dgm:prSet>
      <dgm:spPr/>
    </dgm:pt>
    <dgm:pt modelId="{D3088CA7-823B-4560-85A2-2691475817F7}" type="pres">
      <dgm:prSet presAssocID="{A6F8D434-51E0-4D69-87C1-CD77ADC9706C}" presName="parentText3" presStyleLbl="node1" presStyleIdx="2" presStyleCnt="5">
        <dgm:presLayoutVars>
          <dgm:chMax/>
          <dgm:chPref val="3"/>
          <dgm:bulletEnabled val="1"/>
        </dgm:presLayoutVars>
      </dgm:prSet>
      <dgm:spPr/>
    </dgm:pt>
    <dgm:pt modelId="{29768FBB-A441-46B7-BB3E-D485FBADAEA4}" type="pres">
      <dgm:prSet presAssocID="{A6F8D434-51E0-4D69-87C1-CD77ADC9706C}" presName="childText3" presStyleLbl="solidAlignAcc1" presStyleIdx="2" presStyleCnt="5" custScaleY="68102" custLinFactNeighborX="-51" custLinFactNeighborY="-18400">
        <dgm:presLayoutVars>
          <dgm:chMax val="0"/>
          <dgm:chPref val="0"/>
          <dgm:bulletEnabled val="1"/>
        </dgm:presLayoutVars>
      </dgm:prSet>
      <dgm:spPr/>
    </dgm:pt>
    <dgm:pt modelId="{1A6AB841-D218-440B-A579-085F1E6B27F7}" type="pres">
      <dgm:prSet presAssocID="{1B50BFD9-148E-4384-B823-369DA6C9C2C4}" presName="parentText4" presStyleLbl="node1" presStyleIdx="3" presStyleCnt="5">
        <dgm:presLayoutVars>
          <dgm:chMax/>
          <dgm:chPref val="3"/>
          <dgm:bulletEnabled val="1"/>
        </dgm:presLayoutVars>
      </dgm:prSet>
      <dgm:spPr/>
    </dgm:pt>
    <dgm:pt modelId="{FEFB2577-B2A8-4BE0-B745-C8449A667AD4}" type="pres">
      <dgm:prSet presAssocID="{1B50BFD9-148E-4384-B823-369DA6C9C2C4}" presName="childText4" presStyleLbl="solidAlignAcc1" presStyleIdx="3" presStyleCnt="5" custScaleY="63093" custLinFactNeighborX="206" custLinFactNeighborY="-19738">
        <dgm:presLayoutVars>
          <dgm:chMax val="0"/>
          <dgm:chPref val="0"/>
          <dgm:bulletEnabled val="1"/>
        </dgm:presLayoutVars>
      </dgm:prSet>
      <dgm:spPr/>
    </dgm:pt>
    <dgm:pt modelId="{32DBA045-76F0-425E-A8ED-2424E185A374}" type="pres">
      <dgm:prSet presAssocID="{D26B614B-B687-40F0-B931-A92C5685BBEA}" presName="parentText5" presStyleLbl="node1" presStyleIdx="4" presStyleCnt="5">
        <dgm:presLayoutVars>
          <dgm:chMax/>
          <dgm:chPref val="3"/>
          <dgm:bulletEnabled val="1"/>
        </dgm:presLayoutVars>
      </dgm:prSet>
      <dgm:spPr/>
    </dgm:pt>
    <dgm:pt modelId="{BBE2AA4F-7B26-4802-9630-CCB60B31F041}" type="pres">
      <dgm:prSet presAssocID="{D26B614B-B687-40F0-B931-A92C5685BBEA}" presName="childText5" presStyleLbl="solidAlignAcc1" presStyleIdx="4" presStyleCnt="5" custScaleX="100707" custScaleY="58452" custLinFactNeighborX="346" custLinFactNeighborY="-21967">
        <dgm:presLayoutVars>
          <dgm:chMax val="0"/>
          <dgm:chPref val="0"/>
          <dgm:bulletEnabled val="1"/>
        </dgm:presLayoutVars>
      </dgm:prSet>
      <dgm:spPr/>
    </dgm:pt>
  </dgm:ptLst>
  <dgm:cxnLst>
    <dgm:cxn modelId="{76FBEE02-E15C-4D45-84D6-4B1D0780AD43}" type="presOf" srcId="{1B50BFD9-148E-4384-B823-369DA6C9C2C4}" destId="{1A6AB841-D218-440B-A579-085F1E6B27F7}" srcOrd="0" destOrd="0" presId="urn:microsoft.com/office/officeart/2009/3/layout/IncreasingArrowsProcess"/>
    <dgm:cxn modelId="{149BA71B-D5FA-443D-A8C9-1D929619EB1B}" type="presOf" srcId="{ED2DB1F7-56F4-4A06-B861-C9698C6FED81}" destId="{FEFB2577-B2A8-4BE0-B745-C8449A667AD4}" srcOrd="0" destOrd="0" presId="urn:microsoft.com/office/officeart/2009/3/layout/IncreasingArrowsProcess"/>
    <dgm:cxn modelId="{5A6CC220-ED67-4209-833E-C735377A680A}" type="presOf" srcId="{D26B614B-B687-40F0-B931-A92C5685BBEA}" destId="{32DBA045-76F0-425E-A8ED-2424E185A374}" srcOrd="0" destOrd="0" presId="urn:microsoft.com/office/officeart/2009/3/layout/IncreasingArrowsProcess"/>
    <dgm:cxn modelId="{93528E25-743B-43A4-91B5-B98E8846B6A8}" type="presOf" srcId="{A6F8D434-51E0-4D69-87C1-CD77ADC9706C}" destId="{D3088CA7-823B-4560-85A2-2691475817F7}" srcOrd="0" destOrd="0" presId="urn:microsoft.com/office/officeart/2009/3/layout/IncreasingArrowsProcess"/>
    <dgm:cxn modelId="{25DD0632-72BF-4AE6-8E62-7A574A07FF05}" srcId="{FB130D52-C06D-4340-AFFB-4F22214E0B59}" destId="{309B57D0-6EDD-4B86-AF0C-99E6BF7AEB15}" srcOrd="0" destOrd="0" parTransId="{3247FDA4-3798-4D3C-8BFD-BCC21F95C2A0}" sibTransId="{769F3C15-0559-4A8E-BB33-78284E7DD00F}"/>
    <dgm:cxn modelId="{4DEAA03F-38BD-4769-A07F-812BC65FEE17}" srcId="{2E784821-FC1D-4D80-905A-D0F9BD94C7ED}" destId="{D26B614B-B687-40F0-B931-A92C5685BBEA}" srcOrd="4" destOrd="0" parTransId="{5B1D1398-D1F1-4066-987E-6DBC8FCB5B98}" sibTransId="{2E1FEAE3-154D-4A6D-A5F2-B4E08B70FDB0}"/>
    <dgm:cxn modelId="{0302B565-FDB3-4420-9815-975BCEAD5ABC}" srcId="{2E784821-FC1D-4D80-905A-D0F9BD94C7ED}" destId="{A6F8D434-51E0-4D69-87C1-CD77ADC9706C}" srcOrd="2" destOrd="0" parTransId="{86E7A34F-63A2-467F-8A8D-4C85CD6B79AC}" sibTransId="{611DADE0-00C8-41EB-933B-95AFF271D318}"/>
    <dgm:cxn modelId="{3849DD52-B3EB-4F26-8388-5DF441F3657E}" type="presOf" srcId="{FB130D52-C06D-4340-AFFB-4F22214E0B59}" destId="{457B46D0-1379-4665-B636-F67F832310B7}" srcOrd="0" destOrd="0" presId="urn:microsoft.com/office/officeart/2009/3/layout/IncreasingArrowsProcess"/>
    <dgm:cxn modelId="{D39DF87B-649C-4817-8D58-A10F35AA2A9B}" srcId="{D26B614B-B687-40F0-B931-A92C5685BBEA}" destId="{02342EBE-E014-4525-AD20-1542F13D501C}" srcOrd="0" destOrd="0" parTransId="{2DB5250F-9CF6-4F2C-86A1-34FED6504B54}" sibTransId="{0C545653-7D74-48CC-AE8B-CB3E80386D02}"/>
    <dgm:cxn modelId="{15B97A8A-D91C-42FF-A727-FFA8BB25FEFD}" type="presOf" srcId="{02342EBE-E014-4525-AD20-1542F13D501C}" destId="{BBE2AA4F-7B26-4802-9630-CCB60B31F041}" srcOrd="0" destOrd="0" presId="urn:microsoft.com/office/officeart/2009/3/layout/IncreasingArrowsProcess"/>
    <dgm:cxn modelId="{BB68E4A1-9551-4824-AF9D-B1780D21C701}" srcId="{1B50BFD9-148E-4384-B823-369DA6C9C2C4}" destId="{ED2DB1F7-56F4-4A06-B861-C9698C6FED81}" srcOrd="0" destOrd="0" parTransId="{C3E7341E-1D8B-4DF0-910F-A303EA1CD71D}" sibTransId="{84C214BB-FBD8-409D-85F2-DA416AA567D8}"/>
    <dgm:cxn modelId="{30866FAC-014F-417C-849A-50289F9B3AEF}" srcId="{7B618745-ABF0-479D-A582-E9597C0CED6D}" destId="{77B96800-EAE4-4978-9F0D-2C70DA7798AA}" srcOrd="0" destOrd="0" parTransId="{CFD4B700-1236-4A98-BE46-0232263A82CE}" sibTransId="{27E06D5F-5A24-47E9-9AB4-49F09A3C0A96}"/>
    <dgm:cxn modelId="{D170A0AD-CA16-42B5-8E5D-A26C6E7AFC5C}" type="presOf" srcId="{3B6E8F2F-FFF0-4828-914B-D68538CEE667}" destId="{29768FBB-A441-46B7-BB3E-D485FBADAEA4}" srcOrd="0" destOrd="0" presId="urn:microsoft.com/office/officeart/2009/3/layout/IncreasingArrowsProcess"/>
    <dgm:cxn modelId="{5186E0B0-F973-4F6F-99EB-0838AE47BA08}" type="presOf" srcId="{2E784821-FC1D-4D80-905A-D0F9BD94C7ED}" destId="{3E984C35-6834-42F4-8606-263DA0E3A343}" srcOrd="0" destOrd="0" presId="urn:microsoft.com/office/officeart/2009/3/layout/IncreasingArrowsProcess"/>
    <dgm:cxn modelId="{B171BAB3-6EA1-45D1-BB4D-EEA1DBBF9B76}" srcId="{A6F8D434-51E0-4D69-87C1-CD77ADC9706C}" destId="{3B6E8F2F-FFF0-4828-914B-D68538CEE667}" srcOrd="0" destOrd="0" parTransId="{084BAF25-63FD-4766-8A62-18BA2E4DBC78}" sibTransId="{28BC0B73-6D42-49AA-8293-5C070C87CCF1}"/>
    <dgm:cxn modelId="{9F1937C3-E411-49CE-BFEB-1DCBD778C1A1}" srcId="{2E784821-FC1D-4D80-905A-D0F9BD94C7ED}" destId="{FB130D52-C06D-4340-AFFB-4F22214E0B59}" srcOrd="0" destOrd="0" parTransId="{7FB41D32-48BE-4D68-B4A1-A4B4606AFE4B}" sibTransId="{FEC7453D-977E-48BC-A0ED-1246F4B43747}"/>
    <dgm:cxn modelId="{5E1E35D2-0CAB-4C0C-B908-486747FB3A58}" srcId="{2E784821-FC1D-4D80-905A-D0F9BD94C7ED}" destId="{7B618745-ABF0-479D-A582-E9597C0CED6D}" srcOrd="1" destOrd="0" parTransId="{287AA1F8-3B48-4E38-80E2-1AA0370D19D2}" sibTransId="{C0466288-2B97-4185-83A4-1403C7ABBFB0}"/>
    <dgm:cxn modelId="{3C19A5D5-67BC-46CC-90BF-403DDC6074CE}" srcId="{2E784821-FC1D-4D80-905A-D0F9BD94C7ED}" destId="{1B50BFD9-148E-4384-B823-369DA6C9C2C4}" srcOrd="3" destOrd="0" parTransId="{3F512177-EC3A-4470-8866-B76DA3710C99}" sibTransId="{E75AF969-7F92-40AD-9FEF-FE910C2F5286}"/>
    <dgm:cxn modelId="{0BE2A2DD-4EF0-4889-A37F-F93B8B235921}" type="presOf" srcId="{7B618745-ABF0-479D-A582-E9597C0CED6D}" destId="{66AADD52-CE12-4401-8509-F2B3FBC809BF}" srcOrd="0" destOrd="0" presId="urn:microsoft.com/office/officeart/2009/3/layout/IncreasingArrowsProcess"/>
    <dgm:cxn modelId="{72016BEE-A2A6-4DC4-8AF5-605F2FBB344C}" type="presOf" srcId="{309B57D0-6EDD-4B86-AF0C-99E6BF7AEB15}" destId="{76E5975E-7E41-4DD7-9480-F2FBF7AD10EB}" srcOrd="0" destOrd="0" presId="urn:microsoft.com/office/officeart/2009/3/layout/IncreasingArrowsProcess"/>
    <dgm:cxn modelId="{883E6BFF-ECAC-47EB-853C-7113432019FF}" type="presOf" srcId="{77B96800-EAE4-4978-9F0D-2C70DA7798AA}" destId="{A6FDF715-17DB-4546-9B08-1FFEDB11CEAE}" srcOrd="0" destOrd="0" presId="urn:microsoft.com/office/officeart/2009/3/layout/IncreasingArrowsProcess"/>
    <dgm:cxn modelId="{C6DA599F-0F11-453A-9863-4A17EEE03468}" type="presParOf" srcId="{3E984C35-6834-42F4-8606-263DA0E3A343}" destId="{457B46D0-1379-4665-B636-F67F832310B7}" srcOrd="0" destOrd="0" presId="urn:microsoft.com/office/officeart/2009/3/layout/IncreasingArrowsProcess"/>
    <dgm:cxn modelId="{410A2908-FEF8-4713-8940-D8FCEF94D12E}" type="presParOf" srcId="{3E984C35-6834-42F4-8606-263DA0E3A343}" destId="{76E5975E-7E41-4DD7-9480-F2FBF7AD10EB}" srcOrd="1" destOrd="0" presId="urn:microsoft.com/office/officeart/2009/3/layout/IncreasingArrowsProcess"/>
    <dgm:cxn modelId="{10191DF1-D797-4901-8D11-D7AE2F442B37}" type="presParOf" srcId="{3E984C35-6834-42F4-8606-263DA0E3A343}" destId="{66AADD52-CE12-4401-8509-F2B3FBC809BF}" srcOrd="2" destOrd="0" presId="urn:microsoft.com/office/officeart/2009/3/layout/IncreasingArrowsProcess"/>
    <dgm:cxn modelId="{69B3CA4D-26DF-4229-A4D1-F779BC4D661B}" type="presParOf" srcId="{3E984C35-6834-42F4-8606-263DA0E3A343}" destId="{A6FDF715-17DB-4546-9B08-1FFEDB11CEAE}" srcOrd="3" destOrd="0" presId="urn:microsoft.com/office/officeart/2009/3/layout/IncreasingArrowsProcess"/>
    <dgm:cxn modelId="{EA180206-5524-46E5-9A1F-BCA0C32E569D}" type="presParOf" srcId="{3E984C35-6834-42F4-8606-263DA0E3A343}" destId="{D3088CA7-823B-4560-85A2-2691475817F7}" srcOrd="4" destOrd="0" presId="urn:microsoft.com/office/officeart/2009/3/layout/IncreasingArrowsProcess"/>
    <dgm:cxn modelId="{FA0DFCA6-B029-4672-9EC7-C7A0C6BD71C3}" type="presParOf" srcId="{3E984C35-6834-42F4-8606-263DA0E3A343}" destId="{29768FBB-A441-46B7-BB3E-D485FBADAEA4}" srcOrd="5" destOrd="0" presId="urn:microsoft.com/office/officeart/2009/3/layout/IncreasingArrowsProcess"/>
    <dgm:cxn modelId="{C80FF593-1029-4A58-98FD-9C4FBC639A5A}" type="presParOf" srcId="{3E984C35-6834-42F4-8606-263DA0E3A343}" destId="{1A6AB841-D218-440B-A579-085F1E6B27F7}" srcOrd="6" destOrd="0" presId="urn:microsoft.com/office/officeart/2009/3/layout/IncreasingArrowsProcess"/>
    <dgm:cxn modelId="{6F47E926-C612-4364-929C-99FC2BEB0E78}" type="presParOf" srcId="{3E984C35-6834-42F4-8606-263DA0E3A343}" destId="{FEFB2577-B2A8-4BE0-B745-C8449A667AD4}" srcOrd="7" destOrd="0" presId="urn:microsoft.com/office/officeart/2009/3/layout/IncreasingArrowsProcess"/>
    <dgm:cxn modelId="{13073E45-FA17-49B8-94CC-12EAB76A2883}" type="presParOf" srcId="{3E984C35-6834-42F4-8606-263DA0E3A343}" destId="{32DBA045-76F0-425E-A8ED-2424E185A374}" srcOrd="8" destOrd="0" presId="urn:microsoft.com/office/officeart/2009/3/layout/IncreasingArrowsProcess"/>
    <dgm:cxn modelId="{305F2CB3-C870-4918-9699-0A85B31654C1}" type="presParOf" srcId="{3E984C35-6834-42F4-8606-263DA0E3A343}" destId="{BBE2AA4F-7B26-4802-9630-CCB60B31F041}" srcOrd="9" destOrd="0" presId="urn:microsoft.com/office/officeart/2009/3/layout/IncreasingArrowsProces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DF9EFAB4-AA94-4B7D-8C31-4C00CC9DCC6C}" type="doc">
      <dgm:prSet loTypeId="urn:microsoft.com/office/officeart/2005/8/layout/hierarchy6" loCatId="hierarchy" qsTypeId="urn:microsoft.com/office/officeart/2005/8/quickstyle/3d3" qsCatId="3D" csTypeId="urn:microsoft.com/office/officeart/2005/8/colors/accent1_4" csCatId="accent1" phldr="1"/>
      <dgm:spPr/>
      <dgm:t>
        <a:bodyPr/>
        <a:lstStyle/>
        <a:p>
          <a:endParaRPr lang="cs-CZ"/>
        </a:p>
      </dgm:t>
    </dgm:pt>
    <dgm:pt modelId="{0C719F80-BD18-4301-BF40-F4F3F64D69BD}">
      <dgm:prSet phldrT="[Text]"/>
      <dgm:spPr/>
      <dgm:t>
        <a:bodyPr/>
        <a:lstStyle/>
        <a:p>
          <a:r>
            <a:rPr lang="cs-CZ" b="1" dirty="0">
              <a:solidFill>
                <a:schemeClr val="tx1"/>
              </a:solidFill>
            </a:rPr>
            <a:t>Kompetenční centrum</a:t>
          </a:r>
        </a:p>
      </dgm:t>
    </dgm:pt>
    <dgm:pt modelId="{D38F30B8-1C52-494F-B2B0-1C8F789D1FC4}" type="parTrans" cxnId="{87B7C9A4-1B59-429B-9947-1756EC78C705}">
      <dgm:prSet/>
      <dgm:spPr/>
      <dgm:t>
        <a:bodyPr/>
        <a:lstStyle/>
        <a:p>
          <a:endParaRPr lang="cs-CZ" b="1">
            <a:solidFill>
              <a:schemeClr val="tx1"/>
            </a:solidFill>
          </a:endParaRPr>
        </a:p>
      </dgm:t>
    </dgm:pt>
    <dgm:pt modelId="{9A31CA76-7846-48EF-BBF0-FB4BA1966014}" type="sibTrans" cxnId="{87B7C9A4-1B59-429B-9947-1756EC78C705}">
      <dgm:prSet/>
      <dgm:spPr/>
      <dgm:t>
        <a:bodyPr/>
        <a:lstStyle/>
        <a:p>
          <a:endParaRPr lang="cs-CZ" b="1">
            <a:solidFill>
              <a:schemeClr val="tx1"/>
            </a:solidFill>
          </a:endParaRPr>
        </a:p>
      </dgm:t>
    </dgm:pt>
    <dgm:pt modelId="{69AA384F-9BCD-439D-970C-F5AA8D951006}">
      <dgm:prSet phldrT="[Text]"/>
      <dgm:spPr/>
      <dgm:t>
        <a:bodyPr/>
        <a:lstStyle/>
        <a:p>
          <a:r>
            <a:rPr lang="cs-CZ" b="1" dirty="0">
              <a:solidFill>
                <a:schemeClr val="tx1"/>
              </a:solidFill>
            </a:rPr>
            <a:t>Citizen developer senior</a:t>
          </a:r>
        </a:p>
      </dgm:t>
    </dgm:pt>
    <dgm:pt modelId="{FA371D90-2C76-46D6-B457-52ADA40E7543}" type="parTrans" cxnId="{F05E11FB-268E-4DFA-9B0F-A04844F46C47}">
      <dgm:prSet/>
      <dgm:spPr>
        <a:ln>
          <a:solidFill>
            <a:srgbClr val="00875A"/>
          </a:solidFill>
        </a:ln>
      </dgm:spPr>
      <dgm:t>
        <a:bodyPr/>
        <a:lstStyle/>
        <a:p>
          <a:endParaRPr lang="cs-CZ" b="1">
            <a:solidFill>
              <a:schemeClr val="tx1"/>
            </a:solidFill>
          </a:endParaRPr>
        </a:p>
      </dgm:t>
    </dgm:pt>
    <dgm:pt modelId="{4EE0B0E9-7C45-4D10-B035-0B124649FEFF}" type="sibTrans" cxnId="{F05E11FB-268E-4DFA-9B0F-A04844F46C47}">
      <dgm:prSet/>
      <dgm:spPr/>
      <dgm:t>
        <a:bodyPr/>
        <a:lstStyle/>
        <a:p>
          <a:endParaRPr lang="cs-CZ" b="1">
            <a:solidFill>
              <a:schemeClr val="tx1"/>
            </a:solidFill>
          </a:endParaRPr>
        </a:p>
      </dgm:t>
    </dgm:pt>
    <dgm:pt modelId="{3992EE8B-9C37-4C1C-8E9F-5638817A1906}">
      <dgm:prSet phldrT="[Text]"/>
      <dgm:spPr/>
      <dgm:t>
        <a:bodyPr/>
        <a:lstStyle/>
        <a:p>
          <a:r>
            <a:rPr lang="cs-CZ" b="1" dirty="0">
              <a:solidFill>
                <a:schemeClr val="tx1"/>
              </a:solidFill>
            </a:rPr>
            <a:t>Citizen developer junior</a:t>
          </a:r>
        </a:p>
      </dgm:t>
    </dgm:pt>
    <dgm:pt modelId="{53223C59-2AEC-42D8-81BF-25B30B075626}" type="parTrans" cxnId="{6916250E-C592-4997-9FF8-761EA44775DD}">
      <dgm:prSet/>
      <dgm:spPr>
        <a:ln>
          <a:solidFill>
            <a:srgbClr val="00875A"/>
          </a:solidFill>
        </a:ln>
      </dgm:spPr>
      <dgm:t>
        <a:bodyPr/>
        <a:lstStyle/>
        <a:p>
          <a:endParaRPr lang="cs-CZ" b="1">
            <a:solidFill>
              <a:schemeClr val="tx1"/>
            </a:solidFill>
          </a:endParaRPr>
        </a:p>
      </dgm:t>
    </dgm:pt>
    <dgm:pt modelId="{C6DE0006-2686-443F-B54A-CA4F4CA8DE50}" type="sibTrans" cxnId="{6916250E-C592-4997-9FF8-761EA44775DD}">
      <dgm:prSet/>
      <dgm:spPr/>
      <dgm:t>
        <a:bodyPr/>
        <a:lstStyle/>
        <a:p>
          <a:endParaRPr lang="cs-CZ" b="1">
            <a:solidFill>
              <a:schemeClr val="tx1"/>
            </a:solidFill>
          </a:endParaRPr>
        </a:p>
      </dgm:t>
    </dgm:pt>
    <dgm:pt modelId="{F44748FB-083F-4B6F-B32B-7B23A5048401}">
      <dgm:prSet phldrT="[Text]"/>
      <dgm:spPr/>
      <dgm:t>
        <a:bodyPr/>
        <a:lstStyle/>
        <a:p>
          <a:r>
            <a:rPr lang="cs-CZ" b="1" dirty="0">
              <a:solidFill>
                <a:schemeClr val="tx1"/>
              </a:solidFill>
            </a:rPr>
            <a:t>Digitální ambasador</a:t>
          </a:r>
        </a:p>
      </dgm:t>
    </dgm:pt>
    <dgm:pt modelId="{FE516E16-0920-48F3-86F6-7838F9BC2E80}" type="parTrans" cxnId="{CC9DC950-96EB-45B7-A08A-F5E9538DA7C1}">
      <dgm:prSet/>
      <dgm:spPr>
        <a:ln>
          <a:solidFill>
            <a:srgbClr val="00875A"/>
          </a:solidFill>
        </a:ln>
      </dgm:spPr>
      <dgm:t>
        <a:bodyPr/>
        <a:lstStyle/>
        <a:p>
          <a:endParaRPr lang="cs-CZ" b="1">
            <a:solidFill>
              <a:schemeClr val="tx1"/>
            </a:solidFill>
          </a:endParaRPr>
        </a:p>
      </dgm:t>
    </dgm:pt>
    <dgm:pt modelId="{A7C80B92-511C-4084-B8D7-3297BD293A83}" type="sibTrans" cxnId="{CC9DC950-96EB-45B7-A08A-F5E9538DA7C1}">
      <dgm:prSet/>
      <dgm:spPr/>
      <dgm:t>
        <a:bodyPr/>
        <a:lstStyle/>
        <a:p>
          <a:endParaRPr lang="cs-CZ" b="1">
            <a:solidFill>
              <a:schemeClr val="tx1"/>
            </a:solidFill>
          </a:endParaRPr>
        </a:p>
      </dgm:t>
    </dgm:pt>
    <dgm:pt modelId="{6FDA2211-F5F4-4140-BA0D-488B5F6C6453}">
      <dgm:prSet phldrT="[Text]"/>
      <dgm:spPr/>
      <dgm:t>
        <a:bodyPr/>
        <a:lstStyle/>
        <a:p>
          <a:r>
            <a:rPr lang="cs-CZ" b="1" dirty="0">
              <a:solidFill>
                <a:schemeClr val="tx1"/>
              </a:solidFill>
            </a:rPr>
            <a:t>Citizen developer senior</a:t>
          </a:r>
        </a:p>
      </dgm:t>
    </dgm:pt>
    <dgm:pt modelId="{0AD6A4C4-26C3-4EA9-A67A-1B16E3BE59D6}" type="parTrans" cxnId="{ABA22BEE-AA4F-400D-A389-7E9EBF6FE80D}">
      <dgm:prSet/>
      <dgm:spPr>
        <a:ln>
          <a:solidFill>
            <a:srgbClr val="00875A"/>
          </a:solidFill>
        </a:ln>
      </dgm:spPr>
      <dgm:t>
        <a:bodyPr/>
        <a:lstStyle/>
        <a:p>
          <a:endParaRPr lang="cs-CZ" b="1">
            <a:solidFill>
              <a:schemeClr val="tx1"/>
            </a:solidFill>
          </a:endParaRPr>
        </a:p>
      </dgm:t>
    </dgm:pt>
    <dgm:pt modelId="{6E312F43-34E5-41F2-9F43-01141A5C0F56}" type="sibTrans" cxnId="{ABA22BEE-AA4F-400D-A389-7E9EBF6FE80D}">
      <dgm:prSet/>
      <dgm:spPr/>
      <dgm:t>
        <a:bodyPr/>
        <a:lstStyle/>
        <a:p>
          <a:endParaRPr lang="cs-CZ" b="1">
            <a:solidFill>
              <a:schemeClr val="tx1"/>
            </a:solidFill>
          </a:endParaRPr>
        </a:p>
      </dgm:t>
    </dgm:pt>
    <dgm:pt modelId="{97D9EF9A-1A30-426F-AF7F-4E765B2D645A}">
      <dgm:prSet phldrT="[Text]"/>
      <dgm:spPr/>
      <dgm:t>
        <a:bodyPr/>
        <a:lstStyle/>
        <a:p>
          <a:r>
            <a:rPr lang="cs-CZ" b="1" dirty="0">
              <a:solidFill>
                <a:schemeClr val="tx1"/>
              </a:solidFill>
            </a:rPr>
            <a:t>Citizen developer junior</a:t>
          </a:r>
        </a:p>
      </dgm:t>
    </dgm:pt>
    <dgm:pt modelId="{E72E21D5-EBAF-4FBF-BA96-E062C8AE9593}" type="parTrans" cxnId="{C029D442-24C4-45EC-B99E-9F23623BB5AA}">
      <dgm:prSet/>
      <dgm:spPr>
        <a:ln>
          <a:solidFill>
            <a:srgbClr val="00875A"/>
          </a:solidFill>
        </a:ln>
      </dgm:spPr>
      <dgm:t>
        <a:bodyPr/>
        <a:lstStyle/>
        <a:p>
          <a:endParaRPr lang="cs-CZ" b="1">
            <a:solidFill>
              <a:schemeClr val="tx1"/>
            </a:solidFill>
          </a:endParaRPr>
        </a:p>
      </dgm:t>
    </dgm:pt>
    <dgm:pt modelId="{E4BED2FA-62AD-4A75-BE74-9E668CC0477C}" type="sibTrans" cxnId="{C029D442-24C4-45EC-B99E-9F23623BB5AA}">
      <dgm:prSet/>
      <dgm:spPr/>
      <dgm:t>
        <a:bodyPr/>
        <a:lstStyle/>
        <a:p>
          <a:endParaRPr lang="cs-CZ" b="1">
            <a:solidFill>
              <a:schemeClr val="tx1"/>
            </a:solidFill>
          </a:endParaRPr>
        </a:p>
      </dgm:t>
    </dgm:pt>
    <dgm:pt modelId="{25A84640-0D27-4E3B-83BF-B2B3FA2BFC72}">
      <dgm:prSet phldrT="[Text]"/>
      <dgm:spPr/>
      <dgm:t>
        <a:bodyPr/>
        <a:lstStyle/>
        <a:p>
          <a:r>
            <a:rPr lang="cs-CZ" b="1">
              <a:solidFill>
                <a:schemeClr val="tx1"/>
              </a:solidFill>
            </a:rPr>
            <a:t>Strategie, procesy, nástroje, provoz</a:t>
          </a:r>
        </a:p>
      </dgm:t>
    </dgm:pt>
    <dgm:pt modelId="{A6D15D38-C905-4157-8AD9-E49D1D8D5AB2}" type="parTrans" cxnId="{6E3A322B-C857-415B-84ED-359C150B6C1F}">
      <dgm:prSet/>
      <dgm:spPr/>
      <dgm:t>
        <a:bodyPr/>
        <a:lstStyle/>
        <a:p>
          <a:endParaRPr lang="cs-CZ" b="1">
            <a:solidFill>
              <a:schemeClr val="tx1"/>
            </a:solidFill>
          </a:endParaRPr>
        </a:p>
      </dgm:t>
    </dgm:pt>
    <dgm:pt modelId="{F9074662-A13E-4811-B78B-08287725845E}" type="sibTrans" cxnId="{6E3A322B-C857-415B-84ED-359C150B6C1F}">
      <dgm:prSet/>
      <dgm:spPr/>
      <dgm:t>
        <a:bodyPr/>
        <a:lstStyle/>
        <a:p>
          <a:endParaRPr lang="cs-CZ" b="1">
            <a:solidFill>
              <a:schemeClr val="tx1"/>
            </a:solidFill>
          </a:endParaRPr>
        </a:p>
      </dgm:t>
    </dgm:pt>
    <dgm:pt modelId="{7D6C66D0-6C6B-453A-BDB9-E8DC79F7F3D7}">
      <dgm:prSet phldrT="[Text]"/>
      <dgm:spPr/>
      <dgm:t>
        <a:bodyPr/>
        <a:lstStyle/>
        <a:p>
          <a:r>
            <a:rPr lang="cs-CZ" b="1">
              <a:solidFill>
                <a:schemeClr val="tx1"/>
              </a:solidFill>
            </a:rPr>
            <a:t>Vyšší znalost - úsek</a:t>
          </a:r>
        </a:p>
      </dgm:t>
    </dgm:pt>
    <dgm:pt modelId="{E43805D6-57F1-4F0D-9F25-5E65FBA83E44}" type="parTrans" cxnId="{281C5328-46BC-4031-81DE-FF609EB34A7C}">
      <dgm:prSet/>
      <dgm:spPr/>
      <dgm:t>
        <a:bodyPr/>
        <a:lstStyle/>
        <a:p>
          <a:endParaRPr lang="cs-CZ" b="1">
            <a:solidFill>
              <a:schemeClr val="tx1"/>
            </a:solidFill>
          </a:endParaRPr>
        </a:p>
      </dgm:t>
    </dgm:pt>
    <dgm:pt modelId="{FDB7BD72-E869-4F70-9C06-C6C3460569A8}" type="sibTrans" cxnId="{281C5328-46BC-4031-81DE-FF609EB34A7C}">
      <dgm:prSet/>
      <dgm:spPr/>
      <dgm:t>
        <a:bodyPr/>
        <a:lstStyle/>
        <a:p>
          <a:endParaRPr lang="cs-CZ" b="1">
            <a:solidFill>
              <a:schemeClr val="tx1"/>
            </a:solidFill>
          </a:endParaRPr>
        </a:p>
      </dgm:t>
    </dgm:pt>
    <dgm:pt modelId="{9479ED19-7ABA-4CDC-AD0D-04DED7157AF2}">
      <dgm:prSet phldrT="[Text]"/>
      <dgm:spPr/>
      <dgm:t>
        <a:bodyPr/>
        <a:lstStyle/>
        <a:p>
          <a:r>
            <a:rPr lang="cs-CZ" b="1">
              <a:solidFill>
                <a:schemeClr val="tx1"/>
              </a:solidFill>
            </a:rPr>
            <a:t>Nižší znalost – odbor / oddělení</a:t>
          </a:r>
        </a:p>
      </dgm:t>
    </dgm:pt>
    <dgm:pt modelId="{BD519A77-4774-4F34-A71A-5919A2926200}" type="parTrans" cxnId="{792A49F9-3046-47B8-9914-EA129AC524AB}">
      <dgm:prSet/>
      <dgm:spPr/>
      <dgm:t>
        <a:bodyPr/>
        <a:lstStyle/>
        <a:p>
          <a:endParaRPr lang="cs-CZ" b="1">
            <a:solidFill>
              <a:schemeClr val="tx1"/>
            </a:solidFill>
          </a:endParaRPr>
        </a:p>
      </dgm:t>
    </dgm:pt>
    <dgm:pt modelId="{D67E77BE-E705-4D67-9823-951ED38B21D0}" type="sibTrans" cxnId="{792A49F9-3046-47B8-9914-EA129AC524AB}">
      <dgm:prSet/>
      <dgm:spPr/>
      <dgm:t>
        <a:bodyPr/>
        <a:lstStyle/>
        <a:p>
          <a:endParaRPr lang="cs-CZ" b="1">
            <a:solidFill>
              <a:schemeClr val="tx1"/>
            </a:solidFill>
          </a:endParaRPr>
        </a:p>
      </dgm:t>
    </dgm:pt>
    <dgm:pt modelId="{B16236CF-0F7B-4F57-A7C8-40E3CBC706B9}">
      <dgm:prSet phldrT="[Text]"/>
      <dgm:spPr/>
      <dgm:t>
        <a:bodyPr/>
        <a:lstStyle/>
        <a:p>
          <a:r>
            <a:rPr lang="cs-CZ" b="1" dirty="0">
              <a:solidFill>
                <a:schemeClr val="tx1"/>
              </a:solidFill>
            </a:rPr>
            <a:t>Digitální ambasador</a:t>
          </a:r>
        </a:p>
      </dgm:t>
    </dgm:pt>
    <dgm:pt modelId="{271F8717-5903-403C-87B7-4E3319F0E63C}" type="parTrans" cxnId="{A0D4FBC2-B5C0-4718-97B3-A5B611E2289D}">
      <dgm:prSet/>
      <dgm:spPr>
        <a:ln>
          <a:solidFill>
            <a:srgbClr val="00875A"/>
          </a:solidFill>
        </a:ln>
      </dgm:spPr>
      <dgm:t>
        <a:bodyPr/>
        <a:lstStyle/>
        <a:p>
          <a:endParaRPr lang="cs-CZ" b="1">
            <a:solidFill>
              <a:schemeClr val="tx1"/>
            </a:solidFill>
          </a:endParaRPr>
        </a:p>
      </dgm:t>
    </dgm:pt>
    <dgm:pt modelId="{71903754-96BF-4E17-90AC-B2679D359167}" type="sibTrans" cxnId="{A0D4FBC2-B5C0-4718-97B3-A5B611E2289D}">
      <dgm:prSet/>
      <dgm:spPr/>
      <dgm:t>
        <a:bodyPr/>
        <a:lstStyle/>
        <a:p>
          <a:endParaRPr lang="cs-CZ" b="1">
            <a:solidFill>
              <a:schemeClr val="tx1"/>
            </a:solidFill>
          </a:endParaRPr>
        </a:p>
      </dgm:t>
    </dgm:pt>
    <dgm:pt modelId="{A2641BC0-E35E-4064-9A1B-251E206082F3}">
      <dgm:prSet phldrT="[Text]" custT="1"/>
      <dgm:spPr/>
      <dgm:t>
        <a:bodyPr/>
        <a:lstStyle/>
        <a:p>
          <a:r>
            <a:rPr lang="cs-CZ" sz="1500" b="1" dirty="0">
              <a:solidFill>
                <a:schemeClr val="tx1"/>
              </a:solidFill>
            </a:rPr>
            <a:t>Pasivní uživatelé</a:t>
          </a:r>
        </a:p>
      </dgm:t>
    </dgm:pt>
    <dgm:pt modelId="{81AD4BAE-6872-4390-A686-1ACB11BA6CB4}" type="parTrans" cxnId="{1C01436B-CC20-404A-B8AB-DDFB7E8AEC77}">
      <dgm:prSet/>
      <dgm:spPr>
        <a:ln>
          <a:solidFill>
            <a:srgbClr val="00875A"/>
          </a:solidFill>
        </a:ln>
      </dgm:spPr>
      <dgm:t>
        <a:bodyPr/>
        <a:lstStyle/>
        <a:p>
          <a:endParaRPr lang="cs-CZ">
            <a:solidFill>
              <a:schemeClr val="tx1"/>
            </a:solidFill>
          </a:endParaRPr>
        </a:p>
      </dgm:t>
    </dgm:pt>
    <dgm:pt modelId="{E4C30B73-FA2E-422F-A222-FF8E2720B4E7}" type="sibTrans" cxnId="{1C01436B-CC20-404A-B8AB-DDFB7E8AEC77}">
      <dgm:prSet/>
      <dgm:spPr/>
      <dgm:t>
        <a:bodyPr/>
        <a:lstStyle/>
        <a:p>
          <a:endParaRPr lang="cs-CZ">
            <a:solidFill>
              <a:schemeClr val="tx1"/>
            </a:solidFill>
          </a:endParaRPr>
        </a:p>
      </dgm:t>
    </dgm:pt>
    <dgm:pt modelId="{A2F1C8FE-0877-4D62-ABBB-49DFE434DDCA}">
      <dgm:prSet phldrT="[Text]" custT="1"/>
      <dgm:spPr/>
      <dgm:t>
        <a:bodyPr/>
        <a:lstStyle/>
        <a:p>
          <a:r>
            <a:rPr lang="cs-CZ" sz="1500" b="1" dirty="0">
              <a:solidFill>
                <a:schemeClr val="tx1"/>
              </a:solidFill>
            </a:rPr>
            <a:t>Pasivní uživatelé</a:t>
          </a:r>
        </a:p>
      </dgm:t>
    </dgm:pt>
    <dgm:pt modelId="{8C443907-EDAD-4002-9CDD-099614FAA570}" type="parTrans" cxnId="{49B831A9-E170-40DC-9059-C54DB6D9F761}">
      <dgm:prSet/>
      <dgm:spPr>
        <a:ln>
          <a:solidFill>
            <a:srgbClr val="00875A"/>
          </a:solidFill>
        </a:ln>
      </dgm:spPr>
      <dgm:t>
        <a:bodyPr/>
        <a:lstStyle/>
        <a:p>
          <a:endParaRPr lang="cs-CZ">
            <a:solidFill>
              <a:schemeClr val="tx1"/>
            </a:solidFill>
          </a:endParaRPr>
        </a:p>
      </dgm:t>
    </dgm:pt>
    <dgm:pt modelId="{49AACC56-8097-4529-A5A6-719A7B5EC9E9}" type="sibTrans" cxnId="{49B831A9-E170-40DC-9059-C54DB6D9F761}">
      <dgm:prSet/>
      <dgm:spPr/>
      <dgm:t>
        <a:bodyPr/>
        <a:lstStyle/>
        <a:p>
          <a:endParaRPr lang="cs-CZ">
            <a:solidFill>
              <a:schemeClr val="tx1"/>
            </a:solidFill>
          </a:endParaRPr>
        </a:p>
      </dgm:t>
    </dgm:pt>
    <dgm:pt modelId="{E31DD425-8DE7-4523-AE62-97E687825B06}">
      <dgm:prSet phldrT="[Text]"/>
      <dgm:spPr/>
      <dgm:t>
        <a:bodyPr/>
        <a:lstStyle/>
        <a:p>
          <a:r>
            <a:rPr lang="cs-CZ" b="1">
              <a:solidFill>
                <a:schemeClr val="tx1"/>
              </a:solidFill>
            </a:rPr>
            <a:t>Žádná znalost - referent</a:t>
          </a:r>
        </a:p>
      </dgm:t>
    </dgm:pt>
    <dgm:pt modelId="{EFF04317-D279-489C-B1BF-BD87E34CE37F}" type="parTrans" cxnId="{22A61B7B-3216-4AFE-B7D0-FB8458E011F4}">
      <dgm:prSet/>
      <dgm:spPr/>
      <dgm:t>
        <a:bodyPr/>
        <a:lstStyle/>
        <a:p>
          <a:endParaRPr lang="cs-CZ">
            <a:solidFill>
              <a:schemeClr val="tx1"/>
            </a:solidFill>
          </a:endParaRPr>
        </a:p>
      </dgm:t>
    </dgm:pt>
    <dgm:pt modelId="{9611C356-BE73-4664-ACB9-06B66A14417B}" type="sibTrans" cxnId="{22A61B7B-3216-4AFE-B7D0-FB8458E011F4}">
      <dgm:prSet/>
      <dgm:spPr/>
      <dgm:t>
        <a:bodyPr/>
        <a:lstStyle/>
        <a:p>
          <a:endParaRPr lang="cs-CZ">
            <a:solidFill>
              <a:schemeClr val="tx1"/>
            </a:solidFill>
          </a:endParaRPr>
        </a:p>
      </dgm:t>
    </dgm:pt>
    <dgm:pt modelId="{60A2A859-0E74-4A30-B784-63848B2431DD}">
      <dgm:prSet phldrT="[Text]" custT="1"/>
      <dgm:spPr>
        <a:solidFill>
          <a:srgbClr val="40C400">
            <a:tint val="70000"/>
            <a:hueOff val="0"/>
            <a:satOff val="0"/>
            <a:lumOff val="0"/>
            <a:alphaOff val="0"/>
          </a:srgb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gm:spPr>
      <dgm:t>
        <a:bodyPr spcFirstLastPara="0" vert="horz" wrap="square" lIns="64770" tIns="64770" rIns="64770" bIns="64770" numCol="1" spcCol="1270" anchor="ctr" anchorCtr="0"/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500" b="1" kern="1200">
              <a:solidFill>
                <a:schemeClr val="tx1"/>
              </a:solidFill>
              <a:latin typeface="Segoe UI Light"/>
              <a:ea typeface="+mn-ea"/>
              <a:cs typeface="+mn-cs"/>
            </a:rPr>
            <a:t>Pasivní uživatelé</a:t>
          </a:r>
        </a:p>
      </dgm:t>
    </dgm:pt>
    <dgm:pt modelId="{C1C2C399-C455-4F3E-BADA-C791974F1A87}" type="parTrans" cxnId="{4A0E5C3B-707F-4CFE-84E4-3FF1653F19A8}">
      <dgm:prSet/>
      <dgm:spPr/>
      <dgm:t>
        <a:bodyPr/>
        <a:lstStyle/>
        <a:p>
          <a:endParaRPr lang="cs-CZ">
            <a:solidFill>
              <a:schemeClr val="tx1"/>
            </a:solidFill>
          </a:endParaRPr>
        </a:p>
      </dgm:t>
    </dgm:pt>
    <dgm:pt modelId="{FF89217B-5161-48FD-827B-6C0A2F6A68FC}" type="sibTrans" cxnId="{4A0E5C3B-707F-4CFE-84E4-3FF1653F19A8}">
      <dgm:prSet/>
      <dgm:spPr/>
      <dgm:t>
        <a:bodyPr/>
        <a:lstStyle/>
        <a:p>
          <a:endParaRPr lang="cs-CZ">
            <a:solidFill>
              <a:schemeClr val="tx1"/>
            </a:solidFill>
          </a:endParaRPr>
        </a:p>
      </dgm:t>
    </dgm:pt>
    <dgm:pt modelId="{61EE663B-7006-42D2-8B71-181E3051308D}">
      <dgm:prSet phldrT="[Text]" custT="1"/>
      <dgm:spPr>
        <a:solidFill>
          <a:srgbClr val="40C400">
            <a:tint val="70000"/>
            <a:hueOff val="0"/>
            <a:satOff val="0"/>
            <a:lumOff val="0"/>
            <a:alphaOff val="0"/>
          </a:srgb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gm:spPr>
      <dgm:t>
        <a:bodyPr spcFirstLastPara="0" vert="horz" wrap="square" lIns="64770" tIns="64770" rIns="64770" bIns="64770" numCol="1" spcCol="1270" anchor="ctr" anchorCtr="0"/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500" b="1" kern="1200" dirty="0">
              <a:solidFill>
                <a:schemeClr val="tx1"/>
              </a:solidFill>
              <a:latin typeface="Segoe UI Light"/>
              <a:ea typeface="+mn-ea"/>
              <a:cs typeface="+mn-cs"/>
            </a:rPr>
            <a:t>Pasivní uživatelé</a:t>
          </a:r>
        </a:p>
      </dgm:t>
    </dgm:pt>
    <dgm:pt modelId="{AE691DCF-3281-467F-AD64-90AD0BC84186}" type="parTrans" cxnId="{0A5D3B8B-234D-4C99-9F8E-D62F4BB99877}">
      <dgm:prSet/>
      <dgm:spPr/>
      <dgm:t>
        <a:bodyPr/>
        <a:lstStyle/>
        <a:p>
          <a:endParaRPr lang="cs-CZ">
            <a:solidFill>
              <a:schemeClr val="tx1"/>
            </a:solidFill>
          </a:endParaRPr>
        </a:p>
      </dgm:t>
    </dgm:pt>
    <dgm:pt modelId="{F95FC4D6-9CB7-4908-8E3F-FC26C4637C49}" type="sibTrans" cxnId="{0A5D3B8B-234D-4C99-9F8E-D62F4BB99877}">
      <dgm:prSet/>
      <dgm:spPr/>
      <dgm:t>
        <a:bodyPr/>
        <a:lstStyle/>
        <a:p>
          <a:endParaRPr lang="cs-CZ">
            <a:solidFill>
              <a:schemeClr val="tx1"/>
            </a:solidFill>
          </a:endParaRPr>
        </a:p>
      </dgm:t>
    </dgm:pt>
    <dgm:pt modelId="{456566BF-A8E6-4170-937F-A5D65571D36D}" type="pres">
      <dgm:prSet presAssocID="{DF9EFAB4-AA94-4B7D-8C31-4C00CC9DCC6C}" presName="mainComposite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D088EA1C-4698-4E68-B2DA-16EFA170CF82}" type="pres">
      <dgm:prSet presAssocID="{DF9EFAB4-AA94-4B7D-8C31-4C00CC9DCC6C}" presName="hierFlow" presStyleCnt="0"/>
      <dgm:spPr/>
    </dgm:pt>
    <dgm:pt modelId="{3D7ED67F-C0FE-42DB-B983-C93DC5DF429C}" type="pres">
      <dgm:prSet presAssocID="{DF9EFAB4-AA94-4B7D-8C31-4C00CC9DCC6C}" presName="firstBuf" presStyleCnt="0"/>
      <dgm:spPr/>
    </dgm:pt>
    <dgm:pt modelId="{4E9006FB-4091-416E-A39D-FB330BD1F7D9}" type="pres">
      <dgm:prSet presAssocID="{DF9EFAB4-AA94-4B7D-8C31-4C00CC9DCC6C}" presName="hierChild1" presStyleCnt="0">
        <dgm:presLayoutVars>
          <dgm:chPref val="1"/>
          <dgm:animOne val="branch"/>
          <dgm:animLvl val="lvl"/>
        </dgm:presLayoutVars>
      </dgm:prSet>
      <dgm:spPr/>
    </dgm:pt>
    <dgm:pt modelId="{2BB992A1-CF5D-45B2-BCFE-02C38A42A11A}" type="pres">
      <dgm:prSet presAssocID="{0C719F80-BD18-4301-BF40-F4F3F64D69BD}" presName="Name14" presStyleCnt="0"/>
      <dgm:spPr/>
    </dgm:pt>
    <dgm:pt modelId="{407DABC3-D2F7-43C5-A7A3-1DD9DD8B8C4D}" type="pres">
      <dgm:prSet presAssocID="{0C719F80-BD18-4301-BF40-F4F3F64D69BD}" presName="level1Shape" presStyleLbl="node0" presStyleIdx="0" presStyleCnt="1">
        <dgm:presLayoutVars>
          <dgm:chPref val="3"/>
        </dgm:presLayoutVars>
      </dgm:prSet>
      <dgm:spPr/>
    </dgm:pt>
    <dgm:pt modelId="{5EA662BD-2A92-47E5-B430-2C3769450D3B}" type="pres">
      <dgm:prSet presAssocID="{0C719F80-BD18-4301-BF40-F4F3F64D69BD}" presName="hierChild2" presStyleCnt="0"/>
      <dgm:spPr/>
    </dgm:pt>
    <dgm:pt modelId="{952BA0EC-CB6A-4FDA-AD4F-083FC6466D00}" type="pres">
      <dgm:prSet presAssocID="{FA371D90-2C76-46D6-B457-52ADA40E7543}" presName="Name19" presStyleLbl="parChTrans1D2" presStyleIdx="0" presStyleCnt="2"/>
      <dgm:spPr/>
    </dgm:pt>
    <dgm:pt modelId="{0F5FA7B8-54F3-4C42-942D-EC9942141AB7}" type="pres">
      <dgm:prSet presAssocID="{69AA384F-9BCD-439D-970C-F5AA8D951006}" presName="Name21" presStyleCnt="0"/>
      <dgm:spPr/>
    </dgm:pt>
    <dgm:pt modelId="{3CACE9D4-A91C-4067-A8C6-62133EEF9F3F}" type="pres">
      <dgm:prSet presAssocID="{69AA384F-9BCD-439D-970C-F5AA8D951006}" presName="level2Shape" presStyleLbl="node2" presStyleIdx="0" presStyleCnt="2"/>
      <dgm:spPr/>
    </dgm:pt>
    <dgm:pt modelId="{87E725C1-9554-40B3-B106-55821F321074}" type="pres">
      <dgm:prSet presAssocID="{69AA384F-9BCD-439D-970C-F5AA8D951006}" presName="hierChild3" presStyleCnt="0"/>
      <dgm:spPr/>
    </dgm:pt>
    <dgm:pt modelId="{CC465B40-F1B2-4569-BECA-E724A024FAAC}" type="pres">
      <dgm:prSet presAssocID="{53223C59-2AEC-42D8-81BF-25B30B075626}" presName="Name19" presStyleLbl="parChTrans1D3" presStyleIdx="0" presStyleCnt="4"/>
      <dgm:spPr/>
    </dgm:pt>
    <dgm:pt modelId="{655C203D-E7ED-4C55-820D-81C78E6CF995}" type="pres">
      <dgm:prSet presAssocID="{3992EE8B-9C37-4C1C-8E9F-5638817A1906}" presName="Name21" presStyleCnt="0"/>
      <dgm:spPr/>
    </dgm:pt>
    <dgm:pt modelId="{9894D39B-8126-4077-A08B-DAD42FE277D1}" type="pres">
      <dgm:prSet presAssocID="{3992EE8B-9C37-4C1C-8E9F-5638817A1906}" presName="level2Shape" presStyleLbl="node3" presStyleIdx="0" presStyleCnt="4"/>
      <dgm:spPr/>
    </dgm:pt>
    <dgm:pt modelId="{DB28A302-F14A-41D6-AF00-B7BA2A530E56}" type="pres">
      <dgm:prSet presAssocID="{3992EE8B-9C37-4C1C-8E9F-5638817A1906}" presName="hierChild3" presStyleCnt="0"/>
      <dgm:spPr/>
    </dgm:pt>
    <dgm:pt modelId="{B846AC85-9E65-4A18-B7BB-50913CC03C3D}" type="pres">
      <dgm:prSet presAssocID="{81AD4BAE-6872-4390-A686-1ACB11BA6CB4}" presName="Name19" presStyleLbl="parChTrans1D4" presStyleIdx="0" presStyleCnt="4"/>
      <dgm:spPr/>
    </dgm:pt>
    <dgm:pt modelId="{BC0557EC-8E53-4ABE-A707-7CB4EFAA2728}" type="pres">
      <dgm:prSet presAssocID="{A2641BC0-E35E-4064-9A1B-251E206082F3}" presName="Name21" presStyleCnt="0"/>
      <dgm:spPr/>
    </dgm:pt>
    <dgm:pt modelId="{5255936E-6562-4CD3-B99A-369B76718812}" type="pres">
      <dgm:prSet presAssocID="{A2641BC0-E35E-4064-9A1B-251E206082F3}" presName="level2Shape" presStyleLbl="node4" presStyleIdx="0" presStyleCnt="4"/>
      <dgm:spPr/>
    </dgm:pt>
    <dgm:pt modelId="{6D622D95-7566-42AC-90D4-A206A253F0C6}" type="pres">
      <dgm:prSet presAssocID="{A2641BC0-E35E-4064-9A1B-251E206082F3}" presName="hierChild3" presStyleCnt="0"/>
      <dgm:spPr/>
    </dgm:pt>
    <dgm:pt modelId="{CEC76C7C-912A-456A-A013-D61C250BBCEC}" type="pres">
      <dgm:prSet presAssocID="{FE516E16-0920-48F3-86F6-7838F9BC2E80}" presName="Name19" presStyleLbl="parChTrans1D3" presStyleIdx="1" presStyleCnt="4"/>
      <dgm:spPr/>
    </dgm:pt>
    <dgm:pt modelId="{E243C630-95BA-4582-9025-BADFF449C756}" type="pres">
      <dgm:prSet presAssocID="{F44748FB-083F-4B6F-B32B-7B23A5048401}" presName="Name21" presStyleCnt="0"/>
      <dgm:spPr/>
    </dgm:pt>
    <dgm:pt modelId="{013F1D48-CB5B-499F-B34B-57A768671D86}" type="pres">
      <dgm:prSet presAssocID="{F44748FB-083F-4B6F-B32B-7B23A5048401}" presName="level2Shape" presStyleLbl="node3" presStyleIdx="1" presStyleCnt="4"/>
      <dgm:spPr/>
    </dgm:pt>
    <dgm:pt modelId="{580D32FD-12DC-4C4B-8E55-78CD7F508EBF}" type="pres">
      <dgm:prSet presAssocID="{F44748FB-083F-4B6F-B32B-7B23A5048401}" presName="hierChild3" presStyleCnt="0"/>
      <dgm:spPr/>
    </dgm:pt>
    <dgm:pt modelId="{89004BA3-C5B4-4840-9363-89EEE44BACEC}" type="pres">
      <dgm:prSet presAssocID="{AE691DCF-3281-467F-AD64-90AD0BC84186}" presName="Name19" presStyleLbl="parChTrans1D4" presStyleIdx="1" presStyleCnt="4"/>
      <dgm:spPr/>
    </dgm:pt>
    <dgm:pt modelId="{55A321F2-1F1C-459C-99CB-D339B468567D}" type="pres">
      <dgm:prSet presAssocID="{61EE663B-7006-42D2-8B71-181E3051308D}" presName="Name21" presStyleCnt="0"/>
      <dgm:spPr/>
    </dgm:pt>
    <dgm:pt modelId="{EA102FEB-0571-4B2A-A47A-B2DAF90595D7}" type="pres">
      <dgm:prSet presAssocID="{61EE663B-7006-42D2-8B71-181E3051308D}" presName="level2Shape" presStyleLbl="node4" presStyleIdx="1" presStyleCnt="4"/>
      <dgm:spPr>
        <a:xfrm>
          <a:off x="4567439" y="3890232"/>
          <a:ext cx="1318083" cy="878722"/>
        </a:xfrm>
        <a:prstGeom prst="roundRect">
          <a:avLst>
            <a:gd name="adj" fmla="val 10000"/>
          </a:avLst>
        </a:prstGeom>
      </dgm:spPr>
    </dgm:pt>
    <dgm:pt modelId="{94642A81-FDB7-4FB9-A2A8-23C748D90E43}" type="pres">
      <dgm:prSet presAssocID="{61EE663B-7006-42D2-8B71-181E3051308D}" presName="hierChild3" presStyleCnt="0"/>
      <dgm:spPr/>
    </dgm:pt>
    <dgm:pt modelId="{CECBD3C1-BD1C-401F-B58A-3F126CBEFDD2}" type="pres">
      <dgm:prSet presAssocID="{0AD6A4C4-26C3-4EA9-A67A-1B16E3BE59D6}" presName="Name19" presStyleLbl="parChTrans1D2" presStyleIdx="1" presStyleCnt="2"/>
      <dgm:spPr/>
    </dgm:pt>
    <dgm:pt modelId="{8B958243-7E36-40F8-A750-2C0ECB02A581}" type="pres">
      <dgm:prSet presAssocID="{6FDA2211-F5F4-4140-BA0D-488B5F6C6453}" presName="Name21" presStyleCnt="0"/>
      <dgm:spPr/>
    </dgm:pt>
    <dgm:pt modelId="{FE8E8E13-ECC9-4B4E-B20C-B4BFB52EE5EA}" type="pres">
      <dgm:prSet presAssocID="{6FDA2211-F5F4-4140-BA0D-488B5F6C6453}" presName="level2Shape" presStyleLbl="node2" presStyleIdx="1" presStyleCnt="2"/>
      <dgm:spPr/>
    </dgm:pt>
    <dgm:pt modelId="{58B1F126-3AFA-40F5-890E-84FE71DB35C4}" type="pres">
      <dgm:prSet presAssocID="{6FDA2211-F5F4-4140-BA0D-488B5F6C6453}" presName="hierChild3" presStyleCnt="0"/>
      <dgm:spPr/>
    </dgm:pt>
    <dgm:pt modelId="{EAB643EE-5A2B-4428-8E5D-946BB5355BF4}" type="pres">
      <dgm:prSet presAssocID="{E72E21D5-EBAF-4FBF-BA96-E062C8AE9593}" presName="Name19" presStyleLbl="parChTrans1D3" presStyleIdx="2" presStyleCnt="4"/>
      <dgm:spPr/>
    </dgm:pt>
    <dgm:pt modelId="{DE317A0D-0E37-43C5-8AB0-886BB972EB99}" type="pres">
      <dgm:prSet presAssocID="{97D9EF9A-1A30-426F-AF7F-4E765B2D645A}" presName="Name21" presStyleCnt="0"/>
      <dgm:spPr/>
    </dgm:pt>
    <dgm:pt modelId="{FA08BD70-C8B2-4ECC-99B8-93C3C2BF0FD3}" type="pres">
      <dgm:prSet presAssocID="{97D9EF9A-1A30-426F-AF7F-4E765B2D645A}" presName="level2Shape" presStyleLbl="node3" presStyleIdx="2" presStyleCnt="4"/>
      <dgm:spPr/>
    </dgm:pt>
    <dgm:pt modelId="{5A263368-53F2-4BA6-8505-48E02899B65B}" type="pres">
      <dgm:prSet presAssocID="{97D9EF9A-1A30-426F-AF7F-4E765B2D645A}" presName="hierChild3" presStyleCnt="0"/>
      <dgm:spPr/>
    </dgm:pt>
    <dgm:pt modelId="{519D5C0A-7076-4C51-AFB0-F21B1F8E9749}" type="pres">
      <dgm:prSet presAssocID="{8C443907-EDAD-4002-9CDD-099614FAA570}" presName="Name19" presStyleLbl="parChTrans1D4" presStyleIdx="2" presStyleCnt="4"/>
      <dgm:spPr/>
    </dgm:pt>
    <dgm:pt modelId="{9C8C2787-AE65-49C3-A4B8-94695765586A}" type="pres">
      <dgm:prSet presAssocID="{A2F1C8FE-0877-4D62-ABBB-49DFE434DDCA}" presName="Name21" presStyleCnt="0"/>
      <dgm:spPr/>
    </dgm:pt>
    <dgm:pt modelId="{4C46DFFA-0A00-4308-8AAB-9CFFB345D9C7}" type="pres">
      <dgm:prSet presAssocID="{A2F1C8FE-0877-4D62-ABBB-49DFE434DDCA}" presName="level2Shape" presStyleLbl="node4" presStyleIdx="2" presStyleCnt="4"/>
      <dgm:spPr/>
    </dgm:pt>
    <dgm:pt modelId="{B2194181-6EC3-46A1-BA0A-190E5610740D}" type="pres">
      <dgm:prSet presAssocID="{A2F1C8FE-0877-4D62-ABBB-49DFE434DDCA}" presName="hierChild3" presStyleCnt="0"/>
      <dgm:spPr/>
    </dgm:pt>
    <dgm:pt modelId="{A0DE3A63-E604-4C54-A06F-C9FF4A0F58A4}" type="pres">
      <dgm:prSet presAssocID="{271F8717-5903-403C-87B7-4E3319F0E63C}" presName="Name19" presStyleLbl="parChTrans1D3" presStyleIdx="3" presStyleCnt="4"/>
      <dgm:spPr/>
    </dgm:pt>
    <dgm:pt modelId="{6C63C15A-7E14-45E5-88EF-802A19806642}" type="pres">
      <dgm:prSet presAssocID="{B16236CF-0F7B-4F57-A7C8-40E3CBC706B9}" presName="Name21" presStyleCnt="0"/>
      <dgm:spPr/>
    </dgm:pt>
    <dgm:pt modelId="{D8B9A96F-D9E1-4433-97E5-2BA600B8FE66}" type="pres">
      <dgm:prSet presAssocID="{B16236CF-0F7B-4F57-A7C8-40E3CBC706B9}" presName="level2Shape" presStyleLbl="node3" presStyleIdx="3" presStyleCnt="4"/>
      <dgm:spPr/>
    </dgm:pt>
    <dgm:pt modelId="{F0B2B76E-7B61-4035-9720-8B6AA8409742}" type="pres">
      <dgm:prSet presAssocID="{B16236CF-0F7B-4F57-A7C8-40E3CBC706B9}" presName="hierChild3" presStyleCnt="0"/>
      <dgm:spPr/>
    </dgm:pt>
    <dgm:pt modelId="{FB80F0DE-07E4-4E5E-8BF1-B2820038D3DA}" type="pres">
      <dgm:prSet presAssocID="{C1C2C399-C455-4F3E-BADA-C791974F1A87}" presName="Name19" presStyleLbl="parChTrans1D4" presStyleIdx="3" presStyleCnt="4"/>
      <dgm:spPr/>
    </dgm:pt>
    <dgm:pt modelId="{11965A2F-3BCE-4294-806D-1208F6F4DDE3}" type="pres">
      <dgm:prSet presAssocID="{60A2A859-0E74-4A30-B784-63848B2431DD}" presName="Name21" presStyleCnt="0"/>
      <dgm:spPr/>
    </dgm:pt>
    <dgm:pt modelId="{F240CC56-2C7F-4B40-993B-A51168004D32}" type="pres">
      <dgm:prSet presAssocID="{60A2A859-0E74-4A30-B784-63848B2431DD}" presName="level2Shape" presStyleLbl="node4" presStyleIdx="3" presStyleCnt="4"/>
      <dgm:spPr>
        <a:xfrm>
          <a:off x="7994457" y="3890232"/>
          <a:ext cx="1318083" cy="878722"/>
        </a:xfrm>
        <a:prstGeom prst="roundRect">
          <a:avLst>
            <a:gd name="adj" fmla="val 10000"/>
          </a:avLst>
        </a:prstGeom>
      </dgm:spPr>
    </dgm:pt>
    <dgm:pt modelId="{47B2A13E-CFB5-4AD9-82FB-459538E71EF9}" type="pres">
      <dgm:prSet presAssocID="{60A2A859-0E74-4A30-B784-63848B2431DD}" presName="hierChild3" presStyleCnt="0"/>
      <dgm:spPr/>
    </dgm:pt>
    <dgm:pt modelId="{BB9C4F27-AD1A-4C39-8341-8C1790A88E56}" type="pres">
      <dgm:prSet presAssocID="{DF9EFAB4-AA94-4B7D-8C31-4C00CC9DCC6C}" presName="bgShapesFlow" presStyleCnt="0"/>
      <dgm:spPr/>
    </dgm:pt>
    <dgm:pt modelId="{631F04D2-81FB-44ED-BBF7-6E90EF465DBB}" type="pres">
      <dgm:prSet presAssocID="{25A84640-0D27-4E3B-83BF-B2B3FA2BFC72}" presName="rectComp" presStyleCnt="0"/>
      <dgm:spPr/>
    </dgm:pt>
    <dgm:pt modelId="{243C3596-6092-4BEA-B82A-15AB5A1227A8}" type="pres">
      <dgm:prSet presAssocID="{25A84640-0D27-4E3B-83BF-B2B3FA2BFC72}" presName="bgRect" presStyleLbl="bgShp" presStyleIdx="0" presStyleCnt="4"/>
      <dgm:spPr/>
    </dgm:pt>
    <dgm:pt modelId="{AAE50005-507D-47B0-BBB2-EBC12D7494E5}" type="pres">
      <dgm:prSet presAssocID="{25A84640-0D27-4E3B-83BF-B2B3FA2BFC72}" presName="bgRectTx" presStyleLbl="bgShp" presStyleIdx="0" presStyleCnt="4">
        <dgm:presLayoutVars>
          <dgm:bulletEnabled val="1"/>
        </dgm:presLayoutVars>
      </dgm:prSet>
      <dgm:spPr/>
    </dgm:pt>
    <dgm:pt modelId="{B6FCE7F7-7B45-4995-BB71-42A48635EABA}" type="pres">
      <dgm:prSet presAssocID="{25A84640-0D27-4E3B-83BF-B2B3FA2BFC72}" presName="spComp" presStyleCnt="0"/>
      <dgm:spPr/>
    </dgm:pt>
    <dgm:pt modelId="{9721C193-1A4C-45A8-8BFD-0F61CF3E023A}" type="pres">
      <dgm:prSet presAssocID="{25A84640-0D27-4E3B-83BF-B2B3FA2BFC72}" presName="vSp" presStyleCnt="0"/>
      <dgm:spPr/>
    </dgm:pt>
    <dgm:pt modelId="{3C4D7A17-00C1-4A27-9AD8-2DF49566C32D}" type="pres">
      <dgm:prSet presAssocID="{7D6C66D0-6C6B-453A-BDB9-E8DC79F7F3D7}" presName="rectComp" presStyleCnt="0"/>
      <dgm:spPr/>
    </dgm:pt>
    <dgm:pt modelId="{6AA51955-4F3D-4E8D-AA4B-088227CDB209}" type="pres">
      <dgm:prSet presAssocID="{7D6C66D0-6C6B-453A-BDB9-E8DC79F7F3D7}" presName="bgRect" presStyleLbl="bgShp" presStyleIdx="1" presStyleCnt="4" custLinFactNeighborX="-498"/>
      <dgm:spPr/>
    </dgm:pt>
    <dgm:pt modelId="{6702AEE4-4E74-46C0-BC4B-10B4EB38C3F7}" type="pres">
      <dgm:prSet presAssocID="{7D6C66D0-6C6B-453A-BDB9-E8DC79F7F3D7}" presName="bgRectTx" presStyleLbl="bgShp" presStyleIdx="1" presStyleCnt="4">
        <dgm:presLayoutVars>
          <dgm:bulletEnabled val="1"/>
        </dgm:presLayoutVars>
      </dgm:prSet>
      <dgm:spPr/>
    </dgm:pt>
    <dgm:pt modelId="{6F695B3D-63EC-479D-A916-1002873C8413}" type="pres">
      <dgm:prSet presAssocID="{7D6C66D0-6C6B-453A-BDB9-E8DC79F7F3D7}" presName="spComp" presStyleCnt="0"/>
      <dgm:spPr/>
    </dgm:pt>
    <dgm:pt modelId="{02D5F229-526C-44E5-B1AA-900AF8B68D01}" type="pres">
      <dgm:prSet presAssocID="{7D6C66D0-6C6B-453A-BDB9-E8DC79F7F3D7}" presName="vSp" presStyleCnt="0"/>
      <dgm:spPr/>
    </dgm:pt>
    <dgm:pt modelId="{D855FCD2-7001-46E8-B7CE-9E6CBD3A140C}" type="pres">
      <dgm:prSet presAssocID="{9479ED19-7ABA-4CDC-AD0D-04DED7157AF2}" presName="rectComp" presStyleCnt="0"/>
      <dgm:spPr/>
    </dgm:pt>
    <dgm:pt modelId="{1D6DA1FB-AA43-4CEF-BA62-09C711D1D0CF}" type="pres">
      <dgm:prSet presAssocID="{9479ED19-7ABA-4CDC-AD0D-04DED7157AF2}" presName="bgRect" presStyleLbl="bgShp" presStyleIdx="2" presStyleCnt="4"/>
      <dgm:spPr/>
    </dgm:pt>
    <dgm:pt modelId="{B4239790-6451-4493-836A-FB72C1B6A702}" type="pres">
      <dgm:prSet presAssocID="{9479ED19-7ABA-4CDC-AD0D-04DED7157AF2}" presName="bgRectTx" presStyleLbl="bgShp" presStyleIdx="2" presStyleCnt="4">
        <dgm:presLayoutVars>
          <dgm:bulletEnabled val="1"/>
        </dgm:presLayoutVars>
      </dgm:prSet>
      <dgm:spPr/>
    </dgm:pt>
    <dgm:pt modelId="{DCD398CC-38F1-4F87-877F-AE0578826156}" type="pres">
      <dgm:prSet presAssocID="{9479ED19-7ABA-4CDC-AD0D-04DED7157AF2}" presName="spComp" presStyleCnt="0"/>
      <dgm:spPr/>
    </dgm:pt>
    <dgm:pt modelId="{1B9C4D95-EC55-459D-8585-821F53347649}" type="pres">
      <dgm:prSet presAssocID="{9479ED19-7ABA-4CDC-AD0D-04DED7157AF2}" presName="vSp" presStyleCnt="0"/>
      <dgm:spPr/>
    </dgm:pt>
    <dgm:pt modelId="{6B20EDD6-E8C9-4D41-A934-44F228FD015C}" type="pres">
      <dgm:prSet presAssocID="{E31DD425-8DE7-4523-AE62-97E687825B06}" presName="rectComp" presStyleCnt="0"/>
      <dgm:spPr/>
    </dgm:pt>
    <dgm:pt modelId="{2A7C7C65-7977-407C-82DA-7B6F7CC712E2}" type="pres">
      <dgm:prSet presAssocID="{E31DD425-8DE7-4523-AE62-97E687825B06}" presName="bgRect" presStyleLbl="bgShp" presStyleIdx="3" presStyleCnt="4"/>
      <dgm:spPr/>
    </dgm:pt>
    <dgm:pt modelId="{1D46FFAB-3A20-45E1-AC91-B5F6610AC0D6}" type="pres">
      <dgm:prSet presAssocID="{E31DD425-8DE7-4523-AE62-97E687825B06}" presName="bgRectTx" presStyleLbl="bgShp" presStyleIdx="3" presStyleCnt="4">
        <dgm:presLayoutVars>
          <dgm:bulletEnabled val="1"/>
        </dgm:presLayoutVars>
      </dgm:prSet>
      <dgm:spPr/>
    </dgm:pt>
  </dgm:ptLst>
  <dgm:cxnLst>
    <dgm:cxn modelId="{81A72E01-7277-4B34-A945-3B8F0D09740F}" type="presOf" srcId="{F44748FB-083F-4B6F-B32B-7B23A5048401}" destId="{013F1D48-CB5B-499F-B34B-57A768671D86}" srcOrd="0" destOrd="0" presId="urn:microsoft.com/office/officeart/2005/8/layout/hierarchy6"/>
    <dgm:cxn modelId="{D874F908-DEF1-4A72-B99E-F74A6D6EC462}" type="presOf" srcId="{81AD4BAE-6872-4390-A686-1ACB11BA6CB4}" destId="{B846AC85-9E65-4A18-B7BB-50913CC03C3D}" srcOrd="0" destOrd="0" presId="urn:microsoft.com/office/officeart/2005/8/layout/hierarchy6"/>
    <dgm:cxn modelId="{6916250E-C592-4997-9FF8-761EA44775DD}" srcId="{69AA384F-9BCD-439D-970C-F5AA8D951006}" destId="{3992EE8B-9C37-4C1C-8E9F-5638817A1906}" srcOrd="0" destOrd="0" parTransId="{53223C59-2AEC-42D8-81BF-25B30B075626}" sibTransId="{C6DE0006-2686-443F-B54A-CA4F4CA8DE50}"/>
    <dgm:cxn modelId="{254B2412-265F-4F13-BB4D-E3DF2C5FE8BE}" type="presOf" srcId="{8C443907-EDAD-4002-9CDD-099614FAA570}" destId="{519D5C0A-7076-4C51-AFB0-F21B1F8E9749}" srcOrd="0" destOrd="0" presId="urn:microsoft.com/office/officeart/2005/8/layout/hierarchy6"/>
    <dgm:cxn modelId="{1617E012-B39E-404B-A688-53894F58BA16}" type="presOf" srcId="{A2641BC0-E35E-4064-9A1B-251E206082F3}" destId="{5255936E-6562-4CD3-B99A-369B76718812}" srcOrd="0" destOrd="0" presId="urn:microsoft.com/office/officeart/2005/8/layout/hierarchy6"/>
    <dgm:cxn modelId="{A9E0331C-77D3-451E-91D0-FDE90EA8A2AD}" type="presOf" srcId="{60A2A859-0E74-4A30-B784-63848B2431DD}" destId="{F240CC56-2C7F-4B40-993B-A51168004D32}" srcOrd="0" destOrd="0" presId="urn:microsoft.com/office/officeart/2005/8/layout/hierarchy6"/>
    <dgm:cxn modelId="{D139FB1E-6919-4A9B-AF26-8F3317BB1158}" type="presOf" srcId="{E31DD425-8DE7-4523-AE62-97E687825B06}" destId="{2A7C7C65-7977-407C-82DA-7B6F7CC712E2}" srcOrd="0" destOrd="0" presId="urn:microsoft.com/office/officeart/2005/8/layout/hierarchy6"/>
    <dgm:cxn modelId="{5EC89925-02E0-434B-9B33-F645031E4F87}" type="presOf" srcId="{6FDA2211-F5F4-4140-BA0D-488B5F6C6453}" destId="{FE8E8E13-ECC9-4B4E-B20C-B4BFB52EE5EA}" srcOrd="0" destOrd="0" presId="urn:microsoft.com/office/officeart/2005/8/layout/hierarchy6"/>
    <dgm:cxn modelId="{281C5328-46BC-4031-81DE-FF609EB34A7C}" srcId="{DF9EFAB4-AA94-4B7D-8C31-4C00CC9DCC6C}" destId="{7D6C66D0-6C6B-453A-BDB9-E8DC79F7F3D7}" srcOrd="2" destOrd="0" parTransId="{E43805D6-57F1-4F0D-9F25-5E65FBA83E44}" sibTransId="{FDB7BD72-E869-4F70-9C06-C6C3460569A8}"/>
    <dgm:cxn modelId="{6E3A322B-C857-415B-84ED-359C150B6C1F}" srcId="{DF9EFAB4-AA94-4B7D-8C31-4C00CC9DCC6C}" destId="{25A84640-0D27-4E3B-83BF-B2B3FA2BFC72}" srcOrd="1" destOrd="0" parTransId="{A6D15D38-C905-4157-8AD9-E49D1D8D5AB2}" sibTransId="{F9074662-A13E-4811-B78B-08287725845E}"/>
    <dgm:cxn modelId="{78EF012C-B70E-4906-963A-F14271040257}" type="presOf" srcId="{9479ED19-7ABA-4CDC-AD0D-04DED7157AF2}" destId="{1D6DA1FB-AA43-4CEF-BA62-09C711D1D0CF}" srcOrd="0" destOrd="0" presId="urn:microsoft.com/office/officeart/2005/8/layout/hierarchy6"/>
    <dgm:cxn modelId="{4C23CA32-5689-4D26-BB41-175BA5C1B4E3}" type="presOf" srcId="{9479ED19-7ABA-4CDC-AD0D-04DED7157AF2}" destId="{B4239790-6451-4493-836A-FB72C1B6A702}" srcOrd="1" destOrd="0" presId="urn:microsoft.com/office/officeart/2005/8/layout/hierarchy6"/>
    <dgm:cxn modelId="{4A0E5C3B-707F-4CFE-84E4-3FF1653F19A8}" srcId="{B16236CF-0F7B-4F57-A7C8-40E3CBC706B9}" destId="{60A2A859-0E74-4A30-B784-63848B2431DD}" srcOrd="0" destOrd="0" parTransId="{C1C2C399-C455-4F3E-BADA-C791974F1A87}" sibTransId="{FF89217B-5161-48FD-827B-6C0A2F6A68FC}"/>
    <dgm:cxn modelId="{7EC4563B-3C80-4F0A-A54D-2A223305E000}" type="presOf" srcId="{DF9EFAB4-AA94-4B7D-8C31-4C00CC9DCC6C}" destId="{456566BF-A8E6-4170-937F-A5D65571D36D}" srcOrd="0" destOrd="0" presId="urn:microsoft.com/office/officeart/2005/8/layout/hierarchy6"/>
    <dgm:cxn modelId="{C029D442-24C4-45EC-B99E-9F23623BB5AA}" srcId="{6FDA2211-F5F4-4140-BA0D-488B5F6C6453}" destId="{97D9EF9A-1A30-426F-AF7F-4E765B2D645A}" srcOrd="0" destOrd="0" parTransId="{E72E21D5-EBAF-4FBF-BA96-E062C8AE9593}" sibTransId="{E4BED2FA-62AD-4A75-BE74-9E668CC0477C}"/>
    <dgm:cxn modelId="{7DAF1C64-204C-48B7-87AB-40D6528EB22F}" type="presOf" srcId="{E72E21D5-EBAF-4FBF-BA96-E062C8AE9593}" destId="{EAB643EE-5A2B-4428-8E5D-946BB5355BF4}" srcOrd="0" destOrd="0" presId="urn:microsoft.com/office/officeart/2005/8/layout/hierarchy6"/>
    <dgm:cxn modelId="{8D47D565-916A-4CFE-8280-2A36BD9FE321}" type="presOf" srcId="{0AD6A4C4-26C3-4EA9-A67A-1B16E3BE59D6}" destId="{CECBD3C1-BD1C-401F-B58A-3F126CBEFDD2}" srcOrd="0" destOrd="0" presId="urn:microsoft.com/office/officeart/2005/8/layout/hierarchy6"/>
    <dgm:cxn modelId="{1C01436B-CC20-404A-B8AB-DDFB7E8AEC77}" srcId="{3992EE8B-9C37-4C1C-8E9F-5638817A1906}" destId="{A2641BC0-E35E-4064-9A1B-251E206082F3}" srcOrd="0" destOrd="0" parTransId="{81AD4BAE-6872-4390-A686-1ACB11BA6CB4}" sibTransId="{E4C30B73-FA2E-422F-A222-FF8E2720B4E7}"/>
    <dgm:cxn modelId="{CC9DC950-96EB-45B7-A08A-F5E9538DA7C1}" srcId="{69AA384F-9BCD-439D-970C-F5AA8D951006}" destId="{F44748FB-083F-4B6F-B32B-7B23A5048401}" srcOrd="1" destOrd="0" parTransId="{FE516E16-0920-48F3-86F6-7838F9BC2E80}" sibTransId="{A7C80B92-511C-4084-B8D7-3297BD293A83}"/>
    <dgm:cxn modelId="{25363A71-8CF0-4263-A4AF-1D73F2442DAB}" type="presOf" srcId="{FE516E16-0920-48F3-86F6-7838F9BC2E80}" destId="{CEC76C7C-912A-456A-A013-D61C250BBCEC}" srcOrd="0" destOrd="0" presId="urn:microsoft.com/office/officeart/2005/8/layout/hierarchy6"/>
    <dgm:cxn modelId="{0CD8FC78-EB16-4847-9FD9-EDE152FC350D}" type="presOf" srcId="{97D9EF9A-1A30-426F-AF7F-4E765B2D645A}" destId="{FA08BD70-C8B2-4ECC-99B8-93C3C2BF0FD3}" srcOrd="0" destOrd="0" presId="urn:microsoft.com/office/officeart/2005/8/layout/hierarchy6"/>
    <dgm:cxn modelId="{2BC94859-4FCD-4114-9FEC-BB4D9F1E45A9}" type="presOf" srcId="{7D6C66D0-6C6B-453A-BDB9-E8DC79F7F3D7}" destId="{6702AEE4-4E74-46C0-BC4B-10B4EB38C3F7}" srcOrd="1" destOrd="0" presId="urn:microsoft.com/office/officeart/2005/8/layout/hierarchy6"/>
    <dgm:cxn modelId="{22A61B7B-3216-4AFE-B7D0-FB8458E011F4}" srcId="{DF9EFAB4-AA94-4B7D-8C31-4C00CC9DCC6C}" destId="{E31DD425-8DE7-4523-AE62-97E687825B06}" srcOrd="4" destOrd="0" parTransId="{EFF04317-D279-489C-B1BF-BD87E34CE37F}" sibTransId="{9611C356-BE73-4664-ACB9-06B66A14417B}"/>
    <dgm:cxn modelId="{5B776C86-3FB7-4145-95C9-57188B90C40D}" type="presOf" srcId="{C1C2C399-C455-4F3E-BADA-C791974F1A87}" destId="{FB80F0DE-07E4-4E5E-8BF1-B2820038D3DA}" srcOrd="0" destOrd="0" presId="urn:microsoft.com/office/officeart/2005/8/layout/hierarchy6"/>
    <dgm:cxn modelId="{0A5D3B8B-234D-4C99-9F8E-D62F4BB99877}" srcId="{F44748FB-083F-4B6F-B32B-7B23A5048401}" destId="{61EE663B-7006-42D2-8B71-181E3051308D}" srcOrd="0" destOrd="0" parTransId="{AE691DCF-3281-467F-AD64-90AD0BC84186}" sibTransId="{F95FC4D6-9CB7-4908-8E3F-FC26C4637C49}"/>
    <dgm:cxn modelId="{80BDB38B-B6E8-4518-9295-FEB58EDB041F}" type="presOf" srcId="{271F8717-5903-403C-87B7-4E3319F0E63C}" destId="{A0DE3A63-E604-4C54-A06F-C9FF4A0F58A4}" srcOrd="0" destOrd="0" presId="urn:microsoft.com/office/officeart/2005/8/layout/hierarchy6"/>
    <dgm:cxn modelId="{B8443793-2D59-40BD-8095-8CCA9AD7CC41}" type="presOf" srcId="{69AA384F-9BCD-439D-970C-F5AA8D951006}" destId="{3CACE9D4-A91C-4067-A8C6-62133EEF9F3F}" srcOrd="0" destOrd="0" presId="urn:microsoft.com/office/officeart/2005/8/layout/hierarchy6"/>
    <dgm:cxn modelId="{87B7C9A4-1B59-429B-9947-1756EC78C705}" srcId="{DF9EFAB4-AA94-4B7D-8C31-4C00CC9DCC6C}" destId="{0C719F80-BD18-4301-BF40-F4F3F64D69BD}" srcOrd="0" destOrd="0" parTransId="{D38F30B8-1C52-494F-B2B0-1C8F789D1FC4}" sibTransId="{9A31CA76-7846-48EF-BBF0-FB4BA1966014}"/>
    <dgm:cxn modelId="{49B831A9-E170-40DC-9059-C54DB6D9F761}" srcId="{97D9EF9A-1A30-426F-AF7F-4E765B2D645A}" destId="{A2F1C8FE-0877-4D62-ABBB-49DFE434DDCA}" srcOrd="0" destOrd="0" parTransId="{8C443907-EDAD-4002-9CDD-099614FAA570}" sibTransId="{49AACC56-8097-4529-A5A6-719A7B5EC9E9}"/>
    <dgm:cxn modelId="{F5F5E8AE-3898-4E62-83E3-BD23C34C67B4}" type="presOf" srcId="{FA371D90-2C76-46D6-B457-52ADA40E7543}" destId="{952BA0EC-CB6A-4FDA-AD4F-083FC6466D00}" srcOrd="0" destOrd="0" presId="urn:microsoft.com/office/officeart/2005/8/layout/hierarchy6"/>
    <dgm:cxn modelId="{FB80FBB3-54CD-41BA-94E9-9E51F92802D9}" type="presOf" srcId="{61EE663B-7006-42D2-8B71-181E3051308D}" destId="{EA102FEB-0571-4B2A-A47A-B2DAF90595D7}" srcOrd="0" destOrd="0" presId="urn:microsoft.com/office/officeart/2005/8/layout/hierarchy6"/>
    <dgm:cxn modelId="{E203E2B5-4444-4B75-80D9-FDAC71282A6A}" type="presOf" srcId="{25A84640-0D27-4E3B-83BF-B2B3FA2BFC72}" destId="{AAE50005-507D-47B0-BBB2-EBC12D7494E5}" srcOrd="1" destOrd="0" presId="urn:microsoft.com/office/officeart/2005/8/layout/hierarchy6"/>
    <dgm:cxn modelId="{E6171EB6-990B-4EDB-ACE7-F10569B24A57}" type="presOf" srcId="{A2F1C8FE-0877-4D62-ABBB-49DFE434DDCA}" destId="{4C46DFFA-0A00-4308-8AAB-9CFFB345D9C7}" srcOrd="0" destOrd="0" presId="urn:microsoft.com/office/officeart/2005/8/layout/hierarchy6"/>
    <dgm:cxn modelId="{A0D4FBC2-B5C0-4718-97B3-A5B611E2289D}" srcId="{6FDA2211-F5F4-4140-BA0D-488B5F6C6453}" destId="{B16236CF-0F7B-4F57-A7C8-40E3CBC706B9}" srcOrd="1" destOrd="0" parTransId="{271F8717-5903-403C-87B7-4E3319F0E63C}" sibTransId="{71903754-96BF-4E17-90AC-B2679D359167}"/>
    <dgm:cxn modelId="{AB5B26C3-7A74-46CE-9514-DE1E0592006E}" type="presOf" srcId="{3992EE8B-9C37-4C1C-8E9F-5638817A1906}" destId="{9894D39B-8126-4077-A08B-DAD42FE277D1}" srcOrd="0" destOrd="0" presId="urn:microsoft.com/office/officeart/2005/8/layout/hierarchy6"/>
    <dgm:cxn modelId="{8D337EC9-596F-42A0-8BC8-35644AE7FC8D}" type="presOf" srcId="{AE691DCF-3281-467F-AD64-90AD0BC84186}" destId="{89004BA3-C5B4-4840-9363-89EEE44BACEC}" srcOrd="0" destOrd="0" presId="urn:microsoft.com/office/officeart/2005/8/layout/hierarchy6"/>
    <dgm:cxn modelId="{A0928CD6-33A4-4FBD-8E11-E50877763844}" type="presOf" srcId="{E31DD425-8DE7-4523-AE62-97E687825B06}" destId="{1D46FFAB-3A20-45E1-AC91-B5F6610AC0D6}" srcOrd="1" destOrd="0" presId="urn:microsoft.com/office/officeart/2005/8/layout/hierarchy6"/>
    <dgm:cxn modelId="{B7302CE9-8FB8-4DAE-BB47-1066422BB2C9}" type="presOf" srcId="{25A84640-0D27-4E3B-83BF-B2B3FA2BFC72}" destId="{243C3596-6092-4BEA-B82A-15AB5A1227A8}" srcOrd="0" destOrd="0" presId="urn:microsoft.com/office/officeart/2005/8/layout/hierarchy6"/>
    <dgm:cxn modelId="{ABA22BEE-AA4F-400D-A389-7E9EBF6FE80D}" srcId="{0C719F80-BD18-4301-BF40-F4F3F64D69BD}" destId="{6FDA2211-F5F4-4140-BA0D-488B5F6C6453}" srcOrd="1" destOrd="0" parTransId="{0AD6A4C4-26C3-4EA9-A67A-1B16E3BE59D6}" sibTransId="{6E312F43-34E5-41F2-9F43-01141A5C0F56}"/>
    <dgm:cxn modelId="{B17255F4-46E6-4578-8582-E2778ADDA1AC}" type="presOf" srcId="{53223C59-2AEC-42D8-81BF-25B30B075626}" destId="{CC465B40-F1B2-4569-BECA-E724A024FAAC}" srcOrd="0" destOrd="0" presId="urn:microsoft.com/office/officeart/2005/8/layout/hierarchy6"/>
    <dgm:cxn modelId="{FAC288F6-0F46-43C5-9603-B8AB0D503AF9}" type="presOf" srcId="{7D6C66D0-6C6B-453A-BDB9-E8DC79F7F3D7}" destId="{6AA51955-4F3D-4E8D-AA4B-088227CDB209}" srcOrd="0" destOrd="0" presId="urn:microsoft.com/office/officeart/2005/8/layout/hierarchy6"/>
    <dgm:cxn modelId="{792A49F9-3046-47B8-9914-EA129AC524AB}" srcId="{DF9EFAB4-AA94-4B7D-8C31-4C00CC9DCC6C}" destId="{9479ED19-7ABA-4CDC-AD0D-04DED7157AF2}" srcOrd="3" destOrd="0" parTransId="{BD519A77-4774-4F34-A71A-5919A2926200}" sibTransId="{D67E77BE-E705-4D67-9823-951ED38B21D0}"/>
    <dgm:cxn modelId="{7F391BFA-8335-4D6F-BB59-78F7DA5EB1D9}" type="presOf" srcId="{B16236CF-0F7B-4F57-A7C8-40E3CBC706B9}" destId="{D8B9A96F-D9E1-4433-97E5-2BA600B8FE66}" srcOrd="0" destOrd="0" presId="urn:microsoft.com/office/officeart/2005/8/layout/hierarchy6"/>
    <dgm:cxn modelId="{2EADADFA-9C1D-4A50-BF4D-C2443A64F4BB}" type="presOf" srcId="{0C719F80-BD18-4301-BF40-F4F3F64D69BD}" destId="{407DABC3-D2F7-43C5-A7A3-1DD9DD8B8C4D}" srcOrd="0" destOrd="0" presId="urn:microsoft.com/office/officeart/2005/8/layout/hierarchy6"/>
    <dgm:cxn modelId="{F05E11FB-268E-4DFA-9B0F-A04844F46C47}" srcId="{0C719F80-BD18-4301-BF40-F4F3F64D69BD}" destId="{69AA384F-9BCD-439D-970C-F5AA8D951006}" srcOrd="0" destOrd="0" parTransId="{FA371D90-2C76-46D6-B457-52ADA40E7543}" sibTransId="{4EE0B0E9-7C45-4D10-B035-0B124649FEFF}"/>
    <dgm:cxn modelId="{F2618E86-06BA-40CF-A22B-ED86CF604FF0}" type="presParOf" srcId="{456566BF-A8E6-4170-937F-A5D65571D36D}" destId="{D088EA1C-4698-4E68-B2DA-16EFA170CF82}" srcOrd="0" destOrd="0" presId="urn:microsoft.com/office/officeart/2005/8/layout/hierarchy6"/>
    <dgm:cxn modelId="{E40611B2-3A28-4DA3-803D-84EECDF07E21}" type="presParOf" srcId="{D088EA1C-4698-4E68-B2DA-16EFA170CF82}" destId="{3D7ED67F-C0FE-42DB-B983-C93DC5DF429C}" srcOrd="0" destOrd="0" presId="urn:microsoft.com/office/officeart/2005/8/layout/hierarchy6"/>
    <dgm:cxn modelId="{6AEE003F-5515-49EF-AEF1-2FAEDDF4997F}" type="presParOf" srcId="{D088EA1C-4698-4E68-B2DA-16EFA170CF82}" destId="{4E9006FB-4091-416E-A39D-FB330BD1F7D9}" srcOrd="1" destOrd="0" presId="urn:microsoft.com/office/officeart/2005/8/layout/hierarchy6"/>
    <dgm:cxn modelId="{31A776FF-8B42-4E54-B005-CEB40B4562CB}" type="presParOf" srcId="{4E9006FB-4091-416E-A39D-FB330BD1F7D9}" destId="{2BB992A1-CF5D-45B2-BCFE-02C38A42A11A}" srcOrd="0" destOrd="0" presId="urn:microsoft.com/office/officeart/2005/8/layout/hierarchy6"/>
    <dgm:cxn modelId="{CC382E1D-86EE-4C40-9EC4-65A30664BBB4}" type="presParOf" srcId="{2BB992A1-CF5D-45B2-BCFE-02C38A42A11A}" destId="{407DABC3-D2F7-43C5-A7A3-1DD9DD8B8C4D}" srcOrd="0" destOrd="0" presId="urn:microsoft.com/office/officeart/2005/8/layout/hierarchy6"/>
    <dgm:cxn modelId="{0A79C92B-FAA6-4903-9202-9373A61D4BB7}" type="presParOf" srcId="{2BB992A1-CF5D-45B2-BCFE-02C38A42A11A}" destId="{5EA662BD-2A92-47E5-B430-2C3769450D3B}" srcOrd="1" destOrd="0" presId="urn:microsoft.com/office/officeart/2005/8/layout/hierarchy6"/>
    <dgm:cxn modelId="{72037483-B9F8-473C-ACB9-7A669E8A58E9}" type="presParOf" srcId="{5EA662BD-2A92-47E5-B430-2C3769450D3B}" destId="{952BA0EC-CB6A-4FDA-AD4F-083FC6466D00}" srcOrd="0" destOrd="0" presId="urn:microsoft.com/office/officeart/2005/8/layout/hierarchy6"/>
    <dgm:cxn modelId="{5C707E71-75DE-429B-ADD3-9AA3080337C4}" type="presParOf" srcId="{5EA662BD-2A92-47E5-B430-2C3769450D3B}" destId="{0F5FA7B8-54F3-4C42-942D-EC9942141AB7}" srcOrd="1" destOrd="0" presId="urn:microsoft.com/office/officeart/2005/8/layout/hierarchy6"/>
    <dgm:cxn modelId="{FB25F6B1-C1DE-4B05-A837-0E9471729F0A}" type="presParOf" srcId="{0F5FA7B8-54F3-4C42-942D-EC9942141AB7}" destId="{3CACE9D4-A91C-4067-A8C6-62133EEF9F3F}" srcOrd="0" destOrd="0" presId="urn:microsoft.com/office/officeart/2005/8/layout/hierarchy6"/>
    <dgm:cxn modelId="{4AE73031-B0A6-4404-8121-EEADC5817383}" type="presParOf" srcId="{0F5FA7B8-54F3-4C42-942D-EC9942141AB7}" destId="{87E725C1-9554-40B3-B106-55821F321074}" srcOrd="1" destOrd="0" presId="urn:microsoft.com/office/officeart/2005/8/layout/hierarchy6"/>
    <dgm:cxn modelId="{C62B5B82-6014-471B-81F5-D822F2581BD9}" type="presParOf" srcId="{87E725C1-9554-40B3-B106-55821F321074}" destId="{CC465B40-F1B2-4569-BECA-E724A024FAAC}" srcOrd="0" destOrd="0" presId="urn:microsoft.com/office/officeart/2005/8/layout/hierarchy6"/>
    <dgm:cxn modelId="{6B2BFC4F-2A56-4AC0-936F-DE4B95523955}" type="presParOf" srcId="{87E725C1-9554-40B3-B106-55821F321074}" destId="{655C203D-E7ED-4C55-820D-81C78E6CF995}" srcOrd="1" destOrd="0" presId="urn:microsoft.com/office/officeart/2005/8/layout/hierarchy6"/>
    <dgm:cxn modelId="{B76B89E3-ED1A-4A45-A424-8A55D08BCE86}" type="presParOf" srcId="{655C203D-E7ED-4C55-820D-81C78E6CF995}" destId="{9894D39B-8126-4077-A08B-DAD42FE277D1}" srcOrd="0" destOrd="0" presId="urn:microsoft.com/office/officeart/2005/8/layout/hierarchy6"/>
    <dgm:cxn modelId="{E2AC433C-3278-402E-A187-80ED4A23EC90}" type="presParOf" srcId="{655C203D-E7ED-4C55-820D-81C78E6CF995}" destId="{DB28A302-F14A-41D6-AF00-B7BA2A530E56}" srcOrd="1" destOrd="0" presId="urn:microsoft.com/office/officeart/2005/8/layout/hierarchy6"/>
    <dgm:cxn modelId="{93BBED25-F0C9-4577-BFDD-261990EDB35D}" type="presParOf" srcId="{DB28A302-F14A-41D6-AF00-B7BA2A530E56}" destId="{B846AC85-9E65-4A18-B7BB-50913CC03C3D}" srcOrd="0" destOrd="0" presId="urn:microsoft.com/office/officeart/2005/8/layout/hierarchy6"/>
    <dgm:cxn modelId="{A5E56E5B-3444-48F2-BFC4-41B8D36A1069}" type="presParOf" srcId="{DB28A302-F14A-41D6-AF00-B7BA2A530E56}" destId="{BC0557EC-8E53-4ABE-A707-7CB4EFAA2728}" srcOrd="1" destOrd="0" presId="urn:microsoft.com/office/officeart/2005/8/layout/hierarchy6"/>
    <dgm:cxn modelId="{83AA6806-C0F0-4CAF-83C8-5F3396499DA6}" type="presParOf" srcId="{BC0557EC-8E53-4ABE-A707-7CB4EFAA2728}" destId="{5255936E-6562-4CD3-B99A-369B76718812}" srcOrd="0" destOrd="0" presId="urn:microsoft.com/office/officeart/2005/8/layout/hierarchy6"/>
    <dgm:cxn modelId="{15644F43-A5D2-4EA8-8FB9-CA0468714876}" type="presParOf" srcId="{BC0557EC-8E53-4ABE-A707-7CB4EFAA2728}" destId="{6D622D95-7566-42AC-90D4-A206A253F0C6}" srcOrd="1" destOrd="0" presId="urn:microsoft.com/office/officeart/2005/8/layout/hierarchy6"/>
    <dgm:cxn modelId="{9AFC2344-D65B-4214-9DCD-CD66167CF72F}" type="presParOf" srcId="{87E725C1-9554-40B3-B106-55821F321074}" destId="{CEC76C7C-912A-456A-A013-D61C250BBCEC}" srcOrd="2" destOrd="0" presId="urn:microsoft.com/office/officeart/2005/8/layout/hierarchy6"/>
    <dgm:cxn modelId="{2C051D8F-9E07-4CDE-ACD2-BB03EFCD3D0F}" type="presParOf" srcId="{87E725C1-9554-40B3-B106-55821F321074}" destId="{E243C630-95BA-4582-9025-BADFF449C756}" srcOrd="3" destOrd="0" presId="urn:microsoft.com/office/officeart/2005/8/layout/hierarchy6"/>
    <dgm:cxn modelId="{2BB3344D-19AA-4F47-BB50-963D49180FB8}" type="presParOf" srcId="{E243C630-95BA-4582-9025-BADFF449C756}" destId="{013F1D48-CB5B-499F-B34B-57A768671D86}" srcOrd="0" destOrd="0" presId="urn:microsoft.com/office/officeart/2005/8/layout/hierarchy6"/>
    <dgm:cxn modelId="{1B945B56-A2E6-47D2-B1EA-053BD0451E6A}" type="presParOf" srcId="{E243C630-95BA-4582-9025-BADFF449C756}" destId="{580D32FD-12DC-4C4B-8E55-78CD7F508EBF}" srcOrd="1" destOrd="0" presId="urn:microsoft.com/office/officeart/2005/8/layout/hierarchy6"/>
    <dgm:cxn modelId="{DCC428B4-89AD-4814-ACF2-A0BEF2684947}" type="presParOf" srcId="{580D32FD-12DC-4C4B-8E55-78CD7F508EBF}" destId="{89004BA3-C5B4-4840-9363-89EEE44BACEC}" srcOrd="0" destOrd="0" presId="urn:microsoft.com/office/officeart/2005/8/layout/hierarchy6"/>
    <dgm:cxn modelId="{7053125F-0F42-486B-8BB9-92621C37A6BA}" type="presParOf" srcId="{580D32FD-12DC-4C4B-8E55-78CD7F508EBF}" destId="{55A321F2-1F1C-459C-99CB-D339B468567D}" srcOrd="1" destOrd="0" presId="urn:microsoft.com/office/officeart/2005/8/layout/hierarchy6"/>
    <dgm:cxn modelId="{813E01F2-C84E-4669-9168-E4A947BFF112}" type="presParOf" srcId="{55A321F2-1F1C-459C-99CB-D339B468567D}" destId="{EA102FEB-0571-4B2A-A47A-B2DAF90595D7}" srcOrd="0" destOrd="0" presId="urn:microsoft.com/office/officeart/2005/8/layout/hierarchy6"/>
    <dgm:cxn modelId="{A5F890C0-6E4B-4BE6-B8CB-8F52A9163A33}" type="presParOf" srcId="{55A321F2-1F1C-459C-99CB-D339B468567D}" destId="{94642A81-FDB7-4FB9-A2A8-23C748D90E43}" srcOrd="1" destOrd="0" presId="urn:microsoft.com/office/officeart/2005/8/layout/hierarchy6"/>
    <dgm:cxn modelId="{B0A0008E-CFDF-4C3E-B35E-14740837244B}" type="presParOf" srcId="{5EA662BD-2A92-47E5-B430-2C3769450D3B}" destId="{CECBD3C1-BD1C-401F-B58A-3F126CBEFDD2}" srcOrd="2" destOrd="0" presId="urn:microsoft.com/office/officeart/2005/8/layout/hierarchy6"/>
    <dgm:cxn modelId="{7399A099-FB02-467C-A15B-2E3C7FED3354}" type="presParOf" srcId="{5EA662BD-2A92-47E5-B430-2C3769450D3B}" destId="{8B958243-7E36-40F8-A750-2C0ECB02A581}" srcOrd="3" destOrd="0" presId="urn:microsoft.com/office/officeart/2005/8/layout/hierarchy6"/>
    <dgm:cxn modelId="{B1B334F9-8A07-4051-BAF7-077F234B5697}" type="presParOf" srcId="{8B958243-7E36-40F8-A750-2C0ECB02A581}" destId="{FE8E8E13-ECC9-4B4E-B20C-B4BFB52EE5EA}" srcOrd="0" destOrd="0" presId="urn:microsoft.com/office/officeart/2005/8/layout/hierarchy6"/>
    <dgm:cxn modelId="{A5EBB8EA-C440-49E3-A77B-9FFC880B0BF6}" type="presParOf" srcId="{8B958243-7E36-40F8-A750-2C0ECB02A581}" destId="{58B1F126-3AFA-40F5-890E-84FE71DB35C4}" srcOrd="1" destOrd="0" presId="urn:microsoft.com/office/officeart/2005/8/layout/hierarchy6"/>
    <dgm:cxn modelId="{BE03E01F-035E-486B-AF60-8A7295EDA4AC}" type="presParOf" srcId="{58B1F126-3AFA-40F5-890E-84FE71DB35C4}" destId="{EAB643EE-5A2B-4428-8E5D-946BB5355BF4}" srcOrd="0" destOrd="0" presId="urn:microsoft.com/office/officeart/2005/8/layout/hierarchy6"/>
    <dgm:cxn modelId="{744E0D4D-889C-412C-AFF8-22F24F21F977}" type="presParOf" srcId="{58B1F126-3AFA-40F5-890E-84FE71DB35C4}" destId="{DE317A0D-0E37-43C5-8AB0-886BB972EB99}" srcOrd="1" destOrd="0" presId="urn:microsoft.com/office/officeart/2005/8/layout/hierarchy6"/>
    <dgm:cxn modelId="{05EFA42F-8EBA-46AB-9E6F-7BE4090F1E8F}" type="presParOf" srcId="{DE317A0D-0E37-43C5-8AB0-886BB972EB99}" destId="{FA08BD70-C8B2-4ECC-99B8-93C3C2BF0FD3}" srcOrd="0" destOrd="0" presId="urn:microsoft.com/office/officeart/2005/8/layout/hierarchy6"/>
    <dgm:cxn modelId="{22564338-CF24-4F84-862A-3455CFE1C32A}" type="presParOf" srcId="{DE317A0D-0E37-43C5-8AB0-886BB972EB99}" destId="{5A263368-53F2-4BA6-8505-48E02899B65B}" srcOrd="1" destOrd="0" presId="urn:microsoft.com/office/officeart/2005/8/layout/hierarchy6"/>
    <dgm:cxn modelId="{F1DB2193-02C9-4554-A520-8F4BB63B0A6A}" type="presParOf" srcId="{5A263368-53F2-4BA6-8505-48E02899B65B}" destId="{519D5C0A-7076-4C51-AFB0-F21B1F8E9749}" srcOrd="0" destOrd="0" presId="urn:microsoft.com/office/officeart/2005/8/layout/hierarchy6"/>
    <dgm:cxn modelId="{BF3A12BC-14D1-4CE5-8706-526C63CA3317}" type="presParOf" srcId="{5A263368-53F2-4BA6-8505-48E02899B65B}" destId="{9C8C2787-AE65-49C3-A4B8-94695765586A}" srcOrd="1" destOrd="0" presId="urn:microsoft.com/office/officeart/2005/8/layout/hierarchy6"/>
    <dgm:cxn modelId="{A7C7E648-A50C-4362-B6C2-0016349F3C1C}" type="presParOf" srcId="{9C8C2787-AE65-49C3-A4B8-94695765586A}" destId="{4C46DFFA-0A00-4308-8AAB-9CFFB345D9C7}" srcOrd="0" destOrd="0" presId="urn:microsoft.com/office/officeart/2005/8/layout/hierarchy6"/>
    <dgm:cxn modelId="{9B44B865-908B-42A1-BA10-E31D04834363}" type="presParOf" srcId="{9C8C2787-AE65-49C3-A4B8-94695765586A}" destId="{B2194181-6EC3-46A1-BA0A-190E5610740D}" srcOrd="1" destOrd="0" presId="urn:microsoft.com/office/officeart/2005/8/layout/hierarchy6"/>
    <dgm:cxn modelId="{91015166-587C-42BB-A3F9-F030A33ECDEA}" type="presParOf" srcId="{58B1F126-3AFA-40F5-890E-84FE71DB35C4}" destId="{A0DE3A63-E604-4C54-A06F-C9FF4A0F58A4}" srcOrd="2" destOrd="0" presId="urn:microsoft.com/office/officeart/2005/8/layout/hierarchy6"/>
    <dgm:cxn modelId="{B6CF4FB8-B13B-4B80-AB0F-06E886544CC0}" type="presParOf" srcId="{58B1F126-3AFA-40F5-890E-84FE71DB35C4}" destId="{6C63C15A-7E14-45E5-88EF-802A19806642}" srcOrd="3" destOrd="0" presId="urn:microsoft.com/office/officeart/2005/8/layout/hierarchy6"/>
    <dgm:cxn modelId="{278123D6-73B6-4B11-A22D-7A994D4AF2E5}" type="presParOf" srcId="{6C63C15A-7E14-45E5-88EF-802A19806642}" destId="{D8B9A96F-D9E1-4433-97E5-2BA600B8FE66}" srcOrd="0" destOrd="0" presId="urn:microsoft.com/office/officeart/2005/8/layout/hierarchy6"/>
    <dgm:cxn modelId="{40EBAE81-0DFB-429B-A086-673DE2E3A111}" type="presParOf" srcId="{6C63C15A-7E14-45E5-88EF-802A19806642}" destId="{F0B2B76E-7B61-4035-9720-8B6AA8409742}" srcOrd="1" destOrd="0" presId="urn:microsoft.com/office/officeart/2005/8/layout/hierarchy6"/>
    <dgm:cxn modelId="{362EFCC1-79A3-49D3-BC4C-9982C2E34497}" type="presParOf" srcId="{F0B2B76E-7B61-4035-9720-8B6AA8409742}" destId="{FB80F0DE-07E4-4E5E-8BF1-B2820038D3DA}" srcOrd="0" destOrd="0" presId="urn:microsoft.com/office/officeart/2005/8/layout/hierarchy6"/>
    <dgm:cxn modelId="{27A44EFC-613C-446E-9786-441050D346D2}" type="presParOf" srcId="{F0B2B76E-7B61-4035-9720-8B6AA8409742}" destId="{11965A2F-3BCE-4294-806D-1208F6F4DDE3}" srcOrd="1" destOrd="0" presId="urn:microsoft.com/office/officeart/2005/8/layout/hierarchy6"/>
    <dgm:cxn modelId="{803F1ED1-EBAA-48D1-ACE4-5DF2932BD80D}" type="presParOf" srcId="{11965A2F-3BCE-4294-806D-1208F6F4DDE3}" destId="{F240CC56-2C7F-4B40-993B-A51168004D32}" srcOrd="0" destOrd="0" presId="urn:microsoft.com/office/officeart/2005/8/layout/hierarchy6"/>
    <dgm:cxn modelId="{0F1D3B25-F1E1-4DA7-8B6B-5CE6C9CBB9A8}" type="presParOf" srcId="{11965A2F-3BCE-4294-806D-1208F6F4DDE3}" destId="{47B2A13E-CFB5-4AD9-82FB-459538E71EF9}" srcOrd="1" destOrd="0" presId="urn:microsoft.com/office/officeart/2005/8/layout/hierarchy6"/>
    <dgm:cxn modelId="{59AE834B-EF4E-4F9C-A3AF-31BD94E583C1}" type="presParOf" srcId="{456566BF-A8E6-4170-937F-A5D65571D36D}" destId="{BB9C4F27-AD1A-4C39-8341-8C1790A88E56}" srcOrd="1" destOrd="0" presId="urn:microsoft.com/office/officeart/2005/8/layout/hierarchy6"/>
    <dgm:cxn modelId="{C61E20AA-6407-4F89-B55D-D93C3D82CFD6}" type="presParOf" srcId="{BB9C4F27-AD1A-4C39-8341-8C1790A88E56}" destId="{631F04D2-81FB-44ED-BBF7-6E90EF465DBB}" srcOrd="0" destOrd="0" presId="urn:microsoft.com/office/officeart/2005/8/layout/hierarchy6"/>
    <dgm:cxn modelId="{36B8C7B2-13CC-47D4-8935-3472FA51E02F}" type="presParOf" srcId="{631F04D2-81FB-44ED-BBF7-6E90EF465DBB}" destId="{243C3596-6092-4BEA-B82A-15AB5A1227A8}" srcOrd="0" destOrd="0" presId="urn:microsoft.com/office/officeart/2005/8/layout/hierarchy6"/>
    <dgm:cxn modelId="{199E31B0-104F-420C-B9A0-B774FC4B129E}" type="presParOf" srcId="{631F04D2-81FB-44ED-BBF7-6E90EF465DBB}" destId="{AAE50005-507D-47B0-BBB2-EBC12D7494E5}" srcOrd="1" destOrd="0" presId="urn:microsoft.com/office/officeart/2005/8/layout/hierarchy6"/>
    <dgm:cxn modelId="{394551DD-08F8-4C75-94DA-AD7F70B88EEC}" type="presParOf" srcId="{BB9C4F27-AD1A-4C39-8341-8C1790A88E56}" destId="{B6FCE7F7-7B45-4995-BB71-42A48635EABA}" srcOrd="1" destOrd="0" presId="urn:microsoft.com/office/officeart/2005/8/layout/hierarchy6"/>
    <dgm:cxn modelId="{0C3D9FBE-FDD4-484F-A4A5-55DF59EA34DF}" type="presParOf" srcId="{B6FCE7F7-7B45-4995-BB71-42A48635EABA}" destId="{9721C193-1A4C-45A8-8BFD-0F61CF3E023A}" srcOrd="0" destOrd="0" presId="urn:microsoft.com/office/officeart/2005/8/layout/hierarchy6"/>
    <dgm:cxn modelId="{6A6AF250-C61B-4DA1-A7DA-AFC9B6B71B68}" type="presParOf" srcId="{BB9C4F27-AD1A-4C39-8341-8C1790A88E56}" destId="{3C4D7A17-00C1-4A27-9AD8-2DF49566C32D}" srcOrd="2" destOrd="0" presId="urn:microsoft.com/office/officeart/2005/8/layout/hierarchy6"/>
    <dgm:cxn modelId="{0BF71BD0-C18E-4E9A-A12E-2D2345C66785}" type="presParOf" srcId="{3C4D7A17-00C1-4A27-9AD8-2DF49566C32D}" destId="{6AA51955-4F3D-4E8D-AA4B-088227CDB209}" srcOrd="0" destOrd="0" presId="urn:microsoft.com/office/officeart/2005/8/layout/hierarchy6"/>
    <dgm:cxn modelId="{31E1D29B-3F3D-479B-833C-FF7A917B5404}" type="presParOf" srcId="{3C4D7A17-00C1-4A27-9AD8-2DF49566C32D}" destId="{6702AEE4-4E74-46C0-BC4B-10B4EB38C3F7}" srcOrd="1" destOrd="0" presId="urn:microsoft.com/office/officeart/2005/8/layout/hierarchy6"/>
    <dgm:cxn modelId="{D8D3863C-4A25-4545-A3F7-0E341B223C83}" type="presParOf" srcId="{BB9C4F27-AD1A-4C39-8341-8C1790A88E56}" destId="{6F695B3D-63EC-479D-A916-1002873C8413}" srcOrd="3" destOrd="0" presId="urn:microsoft.com/office/officeart/2005/8/layout/hierarchy6"/>
    <dgm:cxn modelId="{B3C69AF2-43B7-4CA0-A070-1025C1030A7F}" type="presParOf" srcId="{6F695B3D-63EC-479D-A916-1002873C8413}" destId="{02D5F229-526C-44E5-B1AA-900AF8B68D01}" srcOrd="0" destOrd="0" presId="urn:microsoft.com/office/officeart/2005/8/layout/hierarchy6"/>
    <dgm:cxn modelId="{AAC722FE-5FA8-4667-AD31-80A9C16E8B49}" type="presParOf" srcId="{BB9C4F27-AD1A-4C39-8341-8C1790A88E56}" destId="{D855FCD2-7001-46E8-B7CE-9E6CBD3A140C}" srcOrd="4" destOrd="0" presId="urn:microsoft.com/office/officeart/2005/8/layout/hierarchy6"/>
    <dgm:cxn modelId="{D72EA234-AA1A-4CC1-81CF-68939EE4A9DF}" type="presParOf" srcId="{D855FCD2-7001-46E8-B7CE-9E6CBD3A140C}" destId="{1D6DA1FB-AA43-4CEF-BA62-09C711D1D0CF}" srcOrd="0" destOrd="0" presId="urn:microsoft.com/office/officeart/2005/8/layout/hierarchy6"/>
    <dgm:cxn modelId="{212DB3AE-D63B-41AA-AFF7-B5C595461310}" type="presParOf" srcId="{D855FCD2-7001-46E8-B7CE-9E6CBD3A140C}" destId="{B4239790-6451-4493-836A-FB72C1B6A702}" srcOrd="1" destOrd="0" presId="urn:microsoft.com/office/officeart/2005/8/layout/hierarchy6"/>
    <dgm:cxn modelId="{2C9E3A25-1CBC-4A85-A58B-4814548CD8F6}" type="presParOf" srcId="{BB9C4F27-AD1A-4C39-8341-8C1790A88E56}" destId="{DCD398CC-38F1-4F87-877F-AE0578826156}" srcOrd="5" destOrd="0" presId="urn:microsoft.com/office/officeart/2005/8/layout/hierarchy6"/>
    <dgm:cxn modelId="{8E77A9F9-99FC-49A3-9F7F-362D1705BEEC}" type="presParOf" srcId="{DCD398CC-38F1-4F87-877F-AE0578826156}" destId="{1B9C4D95-EC55-459D-8585-821F53347649}" srcOrd="0" destOrd="0" presId="urn:microsoft.com/office/officeart/2005/8/layout/hierarchy6"/>
    <dgm:cxn modelId="{57B1E5CB-E1A4-47C2-93AB-893A95B691C7}" type="presParOf" srcId="{BB9C4F27-AD1A-4C39-8341-8C1790A88E56}" destId="{6B20EDD6-E8C9-4D41-A934-44F228FD015C}" srcOrd="6" destOrd="0" presId="urn:microsoft.com/office/officeart/2005/8/layout/hierarchy6"/>
    <dgm:cxn modelId="{CEEC5025-9C33-445E-8553-1C49A1AB3D4A}" type="presParOf" srcId="{6B20EDD6-E8C9-4D41-A934-44F228FD015C}" destId="{2A7C7C65-7977-407C-82DA-7B6F7CC712E2}" srcOrd="0" destOrd="0" presId="urn:microsoft.com/office/officeart/2005/8/layout/hierarchy6"/>
    <dgm:cxn modelId="{83571189-448C-4AFB-92B9-C01A82E6BB50}" type="presParOf" srcId="{6B20EDD6-E8C9-4D41-A934-44F228FD015C}" destId="{1D46FFAB-3A20-45E1-AC91-B5F6610AC0D6}" srcOrd="1" destOrd="0" presId="urn:microsoft.com/office/officeart/2005/8/layout/hierarchy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57B46D0-1379-4665-B636-F67F832310B7}">
      <dsp:nvSpPr>
        <dsp:cNvPr id="0" name=""/>
        <dsp:cNvSpPr/>
      </dsp:nvSpPr>
      <dsp:spPr>
        <a:xfrm>
          <a:off x="839808" y="336340"/>
          <a:ext cx="9553630" cy="1389365"/>
        </a:xfrm>
        <a:prstGeom prst="rightArrow">
          <a:avLst>
            <a:gd name="adj1" fmla="val 50000"/>
            <a:gd name="adj2" fmla="val 50000"/>
          </a:avLst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solidFill>
            <a:schemeClr val="tx1"/>
          </a:solidFill>
        </a:ln>
        <a:effectLst/>
        <a:scene3d>
          <a:camera prst="isometricTopDown" fov="0">
            <a:rot lat="0" lon="0" rev="0"/>
          </a:camera>
          <a:lightRig rig="balanced" dir="t">
            <a:rot lat="0" lon="0" rev="13800000"/>
          </a:lightRig>
        </a:scene3d>
        <a:sp3d extrusionH="12700" prstMaterial="plastic">
          <a:contourClr>
            <a:scrgbClr r="0" g="0" b="0"/>
          </a:contourClr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254000" bIns="220562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800" b="1" kern="1200" cap="none" spc="0">
              <a:ln w="22225">
                <a:prstDash val="solid"/>
              </a:ln>
              <a:effectLst/>
            </a:rPr>
            <a:t>Optimalizace</a:t>
          </a:r>
        </a:p>
      </dsp:txBody>
      <dsp:txXfrm>
        <a:off x="839808" y="683681"/>
        <a:ext cx="9206289" cy="694683"/>
      </dsp:txXfrm>
    </dsp:sp>
    <dsp:sp modelId="{76E5975E-7E41-4DD7-9480-F2FBF7AD10EB}">
      <dsp:nvSpPr>
        <dsp:cNvPr id="0" name=""/>
        <dsp:cNvSpPr/>
      </dsp:nvSpPr>
      <dsp:spPr>
        <a:xfrm>
          <a:off x="837106" y="1351648"/>
          <a:ext cx="1765702" cy="1468794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balanced" dir="t">
            <a:rot lat="0" lon="0" rev="13800000"/>
          </a:lightRig>
        </a:scene3d>
        <a:sp3d extrusionH="12700" prstMaterial="plastic">
          <a:contourClr>
            <a:scrgbClr r="0" g="0" b="0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3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600" b="1" kern="1200"/>
            <a:t>Nekonečná práce na zjednodušování procesů</a:t>
          </a:r>
        </a:p>
      </dsp:txBody>
      <dsp:txXfrm>
        <a:off x="837106" y="1351648"/>
        <a:ext cx="1765702" cy="1468794"/>
      </dsp:txXfrm>
    </dsp:sp>
    <dsp:sp modelId="{66AADD52-CE12-4401-8509-F2B3FBC809BF}">
      <dsp:nvSpPr>
        <dsp:cNvPr id="0" name=""/>
        <dsp:cNvSpPr/>
      </dsp:nvSpPr>
      <dsp:spPr>
        <a:xfrm>
          <a:off x="2605319" y="799640"/>
          <a:ext cx="7788119" cy="1389365"/>
        </a:xfrm>
        <a:prstGeom prst="rightArrow">
          <a:avLst>
            <a:gd name="adj1" fmla="val 50000"/>
            <a:gd name="adj2" fmla="val 50000"/>
          </a:avLst>
        </a:prstGeom>
        <a:solidFill>
          <a:srgbClr val="049F9A">
            <a:hueOff val="-1037612"/>
            <a:satOff val="-6291"/>
            <a:lumOff val="1472"/>
            <a:alphaOff val="0"/>
          </a:srgbClr>
        </a:solidFill>
        <a:ln>
          <a:solidFill>
            <a:srgbClr val="000000"/>
          </a:solidFill>
        </a:ln>
        <a:effectLst/>
        <a:scene3d>
          <a:camera prst="isometricTopDown" fov="0">
            <a:rot lat="0" lon="0" rev="0"/>
          </a:camera>
          <a:lightRig rig="balanced" dir="t">
            <a:rot lat="0" lon="0" rev="13800000"/>
          </a:lightRig>
        </a:scene3d>
        <a:sp3d extrusionH="12700" prstMaterial="plastic">
          <a:contourClr>
            <a:scrgbClr r="0" g="0" b="0"/>
          </a:contourClr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254000" bIns="220562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800" b="1" kern="1200" cap="none" spc="0">
              <a:ln w="22225">
                <a:prstDash val="solid"/>
              </a:ln>
              <a:solidFill>
                <a:srgbClr val="FFFFFF"/>
              </a:solidFill>
              <a:effectLst/>
              <a:latin typeface="72 Brand"/>
              <a:ea typeface="+mn-ea"/>
              <a:cs typeface="+mn-cs"/>
            </a:rPr>
            <a:t>Digitalizace</a:t>
          </a:r>
        </a:p>
      </dsp:txBody>
      <dsp:txXfrm>
        <a:off x="2605319" y="1146981"/>
        <a:ext cx="7440778" cy="694683"/>
      </dsp:txXfrm>
    </dsp:sp>
    <dsp:sp modelId="{A6FDF715-17DB-4546-9B08-1FFEDB11CEAE}">
      <dsp:nvSpPr>
        <dsp:cNvPr id="0" name=""/>
        <dsp:cNvSpPr/>
      </dsp:nvSpPr>
      <dsp:spPr>
        <a:xfrm>
          <a:off x="2605319" y="1788353"/>
          <a:ext cx="1765702" cy="1645917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2">
              <a:hueOff val="-1662385"/>
              <a:satOff val="-15002"/>
              <a:lumOff val="15393"/>
              <a:alphaOff val="0"/>
            </a:schemeClr>
          </a:solidFill>
          <a:prstDash val="solid"/>
        </a:ln>
        <a:effectLst/>
        <a:scene3d>
          <a:camera prst="orthographicFront"/>
          <a:lightRig rig="balanced" dir="t">
            <a:rot lat="0" lon="0" rev="13800000"/>
          </a:lightRig>
        </a:scene3d>
        <a:sp3d extrusionH="12700" prstMaterial="plastic">
          <a:contourClr>
            <a:scrgbClr r="0" g="0" b="0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3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600" b="1" kern="1200"/>
            <a:t>Analogový proces nelze digitalizovat 1:1</a:t>
          </a:r>
        </a:p>
      </dsp:txBody>
      <dsp:txXfrm>
        <a:off x="2605319" y="1788353"/>
        <a:ext cx="1765702" cy="1645917"/>
      </dsp:txXfrm>
    </dsp:sp>
    <dsp:sp modelId="{D3088CA7-823B-4560-85A2-2691475817F7}">
      <dsp:nvSpPr>
        <dsp:cNvPr id="0" name=""/>
        <dsp:cNvSpPr/>
      </dsp:nvSpPr>
      <dsp:spPr>
        <a:xfrm>
          <a:off x="4370830" y="1262941"/>
          <a:ext cx="6022608" cy="1389365"/>
        </a:xfrm>
        <a:prstGeom prst="rightArrow">
          <a:avLst>
            <a:gd name="adj1" fmla="val 50000"/>
            <a:gd name="adj2" fmla="val 50000"/>
          </a:avLst>
        </a:prstGeom>
        <a:gradFill rotWithShape="0">
          <a:gsLst>
            <a:gs pos="0">
              <a:schemeClr val="accent2">
                <a:hueOff val="-3324771"/>
                <a:satOff val="-30005"/>
                <a:lumOff val="30785"/>
                <a:alphaOff val="0"/>
                <a:shade val="51000"/>
                <a:satMod val="130000"/>
              </a:schemeClr>
            </a:gs>
            <a:gs pos="80000">
              <a:schemeClr val="accent2">
                <a:hueOff val="-3324771"/>
                <a:satOff val="-30005"/>
                <a:lumOff val="30785"/>
                <a:alphaOff val="0"/>
                <a:shade val="93000"/>
                <a:satMod val="130000"/>
              </a:schemeClr>
            </a:gs>
            <a:gs pos="100000">
              <a:schemeClr val="accent2">
                <a:hueOff val="-3324771"/>
                <a:satOff val="-30005"/>
                <a:lumOff val="30785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solidFill>
            <a:schemeClr val="tx1"/>
          </a:solidFill>
        </a:ln>
        <a:effectLst/>
        <a:scene3d>
          <a:camera prst="isometricTopDown" fov="0">
            <a:rot lat="0" lon="0" rev="0"/>
          </a:camera>
          <a:lightRig rig="balanced" dir="t">
            <a:rot lat="0" lon="0" rev="13800000"/>
          </a:lightRig>
        </a:scene3d>
        <a:sp3d extrusionH="12700" prstMaterial="plastic">
          <a:contourClr>
            <a:scrgbClr r="0" g="0" b="0"/>
          </a:contourClr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254000" bIns="220562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800" b="1" kern="1200" cap="none" spc="0">
              <a:ln w="22225">
                <a:prstDash val="solid"/>
              </a:ln>
              <a:effectLst/>
            </a:rPr>
            <a:t>Automatizace</a:t>
          </a:r>
        </a:p>
      </dsp:txBody>
      <dsp:txXfrm>
        <a:off x="4370830" y="1610282"/>
        <a:ext cx="5675267" cy="694683"/>
      </dsp:txXfrm>
    </dsp:sp>
    <dsp:sp modelId="{29768FBB-A441-46B7-BB3E-D485FBADAEA4}">
      <dsp:nvSpPr>
        <dsp:cNvPr id="0" name=""/>
        <dsp:cNvSpPr/>
      </dsp:nvSpPr>
      <dsp:spPr>
        <a:xfrm>
          <a:off x="4369930" y="2270022"/>
          <a:ext cx="1765702" cy="1737349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2">
              <a:hueOff val="-3324771"/>
              <a:satOff val="-30005"/>
              <a:lumOff val="30785"/>
              <a:alphaOff val="0"/>
            </a:schemeClr>
          </a:solidFill>
          <a:prstDash val="solid"/>
        </a:ln>
        <a:effectLst/>
        <a:scene3d>
          <a:camera prst="orthographicFront"/>
          <a:lightRig rig="balanced" dir="t">
            <a:rot lat="0" lon="0" rev="13800000"/>
          </a:lightRig>
        </a:scene3d>
        <a:sp3d extrusionH="12700" prstMaterial="plastic">
          <a:contourClr>
            <a:scrgbClr r="0" g="0" b="0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3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600" b="1" kern="1200"/>
            <a:t>Jednotlivé transakce v rámci jedné aplikace nebo ERP modulu</a:t>
          </a:r>
        </a:p>
      </dsp:txBody>
      <dsp:txXfrm>
        <a:off x="4369930" y="2270022"/>
        <a:ext cx="1765702" cy="1737349"/>
      </dsp:txXfrm>
    </dsp:sp>
    <dsp:sp modelId="{1A6AB841-D218-440B-A579-085F1E6B27F7}">
      <dsp:nvSpPr>
        <dsp:cNvPr id="0" name=""/>
        <dsp:cNvSpPr/>
      </dsp:nvSpPr>
      <dsp:spPr>
        <a:xfrm>
          <a:off x="6137296" y="1726241"/>
          <a:ext cx="4256142" cy="1389365"/>
        </a:xfrm>
        <a:prstGeom prst="rightArrow">
          <a:avLst>
            <a:gd name="adj1" fmla="val 50000"/>
            <a:gd name="adj2" fmla="val 50000"/>
          </a:avLst>
        </a:prstGeom>
        <a:gradFill rotWithShape="0">
          <a:gsLst>
            <a:gs pos="0">
              <a:schemeClr val="accent2">
                <a:hueOff val="-4987156"/>
                <a:satOff val="-45007"/>
                <a:lumOff val="46178"/>
                <a:alphaOff val="0"/>
                <a:shade val="51000"/>
                <a:satMod val="130000"/>
              </a:schemeClr>
            </a:gs>
            <a:gs pos="80000">
              <a:schemeClr val="accent2">
                <a:hueOff val="-4987156"/>
                <a:satOff val="-45007"/>
                <a:lumOff val="46178"/>
                <a:alphaOff val="0"/>
                <a:shade val="93000"/>
                <a:satMod val="130000"/>
              </a:schemeClr>
            </a:gs>
            <a:gs pos="100000">
              <a:schemeClr val="accent2">
                <a:hueOff val="-4987156"/>
                <a:satOff val="-45007"/>
                <a:lumOff val="46178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solidFill>
            <a:schemeClr val="tx1"/>
          </a:solidFill>
        </a:ln>
        <a:effectLst/>
        <a:scene3d>
          <a:camera prst="isometricTopDown" fov="0">
            <a:rot lat="0" lon="0" rev="0"/>
          </a:camera>
          <a:lightRig rig="balanced" dir="t">
            <a:rot lat="0" lon="0" rev="13800000"/>
          </a:lightRig>
        </a:scene3d>
        <a:sp3d extrusionH="12700" prstMaterial="plastic">
          <a:contourClr>
            <a:scrgbClr r="0" g="0" b="0"/>
          </a:contourClr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254000" bIns="220562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800" b="1" kern="1200" cap="none" spc="0" dirty="0">
              <a:ln w="22225">
                <a:prstDash val="solid"/>
              </a:ln>
              <a:effectLst/>
            </a:rPr>
            <a:t>Robotizace</a:t>
          </a:r>
        </a:p>
      </dsp:txBody>
      <dsp:txXfrm>
        <a:off x="6137296" y="2073582"/>
        <a:ext cx="3908801" cy="694683"/>
      </dsp:txXfrm>
    </dsp:sp>
    <dsp:sp modelId="{FEFB2577-B2A8-4BE0-B745-C8449A667AD4}">
      <dsp:nvSpPr>
        <dsp:cNvPr id="0" name=""/>
        <dsp:cNvSpPr/>
      </dsp:nvSpPr>
      <dsp:spPr>
        <a:xfrm>
          <a:off x="6140934" y="2763081"/>
          <a:ext cx="1765702" cy="1609564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2">
              <a:hueOff val="-4987156"/>
              <a:satOff val="-45007"/>
              <a:lumOff val="46178"/>
              <a:alphaOff val="0"/>
            </a:schemeClr>
          </a:solidFill>
          <a:prstDash val="solid"/>
        </a:ln>
        <a:effectLst/>
        <a:scene3d>
          <a:camera prst="orthographicFront"/>
          <a:lightRig rig="balanced" dir="t">
            <a:rot lat="0" lon="0" rev="13800000"/>
          </a:lightRig>
        </a:scene3d>
        <a:sp3d extrusionH="12700" prstMaterial="plastic">
          <a:contourClr>
            <a:scrgbClr r="0" g="0" b="0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3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600" b="1" kern="1200"/>
            <a:t>Komplexní automatizace E2E procesů</a:t>
          </a:r>
        </a:p>
      </dsp:txBody>
      <dsp:txXfrm>
        <a:off x="6140934" y="2763081"/>
        <a:ext cx="1765702" cy="1609564"/>
      </dsp:txXfrm>
    </dsp:sp>
    <dsp:sp modelId="{32DBA045-76F0-425E-A8ED-2424E185A374}">
      <dsp:nvSpPr>
        <dsp:cNvPr id="0" name=""/>
        <dsp:cNvSpPr/>
      </dsp:nvSpPr>
      <dsp:spPr>
        <a:xfrm>
          <a:off x="7902807" y="2189542"/>
          <a:ext cx="2490631" cy="1389365"/>
        </a:xfrm>
        <a:prstGeom prst="rightArrow">
          <a:avLst>
            <a:gd name="adj1" fmla="val 50000"/>
            <a:gd name="adj2" fmla="val 50000"/>
          </a:avLst>
        </a:prstGeom>
        <a:gradFill rotWithShape="0">
          <a:gsLst>
            <a:gs pos="0">
              <a:schemeClr val="accent2">
                <a:hueOff val="-6649541"/>
                <a:satOff val="-60009"/>
                <a:lumOff val="61570"/>
                <a:alphaOff val="0"/>
                <a:shade val="51000"/>
                <a:satMod val="130000"/>
              </a:schemeClr>
            </a:gs>
            <a:gs pos="80000">
              <a:schemeClr val="accent2">
                <a:hueOff val="-6649541"/>
                <a:satOff val="-60009"/>
                <a:lumOff val="61570"/>
                <a:alphaOff val="0"/>
                <a:shade val="93000"/>
                <a:satMod val="130000"/>
              </a:schemeClr>
            </a:gs>
            <a:gs pos="100000">
              <a:schemeClr val="accent2">
                <a:hueOff val="-6649541"/>
                <a:satOff val="-60009"/>
                <a:lumOff val="6157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solidFill>
            <a:schemeClr val="tx1"/>
          </a:solidFill>
        </a:ln>
        <a:effectLst/>
        <a:scene3d>
          <a:camera prst="isometricTopDown" fov="0">
            <a:rot lat="0" lon="0" rev="0"/>
          </a:camera>
          <a:lightRig rig="balanced" dir="t">
            <a:rot lat="0" lon="0" rev="13800000"/>
          </a:lightRig>
        </a:scene3d>
        <a:sp3d extrusionH="12700" prstMaterial="plastic">
          <a:contourClr>
            <a:scrgbClr r="0" g="0" b="0"/>
          </a:contourClr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254000" bIns="220562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800" b="1" kern="1200"/>
            <a:t>Umělá inteligence</a:t>
          </a:r>
        </a:p>
      </dsp:txBody>
      <dsp:txXfrm>
        <a:off x="7902807" y="2536883"/>
        <a:ext cx="2143290" cy="694683"/>
      </dsp:txXfrm>
    </dsp:sp>
    <dsp:sp modelId="{BBE2AA4F-7B26-4802-9630-CCB60B31F041}">
      <dsp:nvSpPr>
        <dsp:cNvPr id="0" name=""/>
        <dsp:cNvSpPr/>
      </dsp:nvSpPr>
      <dsp:spPr>
        <a:xfrm>
          <a:off x="7902675" y="3228715"/>
          <a:ext cx="1778185" cy="1491168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2">
              <a:hueOff val="-6649541"/>
              <a:satOff val="-60009"/>
              <a:lumOff val="61570"/>
              <a:alphaOff val="0"/>
            </a:schemeClr>
          </a:solidFill>
          <a:prstDash val="solid"/>
        </a:ln>
        <a:effectLst/>
        <a:scene3d>
          <a:camera prst="orthographicFront"/>
          <a:lightRig rig="balanced" dir="t">
            <a:rot lat="0" lon="0" rev="13800000"/>
          </a:lightRig>
        </a:scene3d>
        <a:sp3d extrusionH="12700" prstMaterial="plastic">
          <a:contourClr>
            <a:scrgbClr r="0" g="0" b="0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3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600" b="1" kern="1200"/>
            <a:t>Strojové učení,  chatboty, řízení procesů</a:t>
          </a:r>
        </a:p>
      </dsp:txBody>
      <dsp:txXfrm>
        <a:off x="7902675" y="3228715"/>
        <a:ext cx="1778185" cy="149116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A7C7C65-7977-407C-82DA-7B6F7CC712E2}">
      <dsp:nvSpPr>
        <dsp:cNvPr id="0" name=""/>
        <dsp:cNvSpPr/>
      </dsp:nvSpPr>
      <dsp:spPr>
        <a:xfrm>
          <a:off x="0" y="3802359"/>
          <a:ext cx="9505056" cy="1054467"/>
        </a:xfrm>
        <a:prstGeom prst="roundRect">
          <a:avLst>
            <a:gd name="adj" fmla="val 10000"/>
          </a:avLst>
        </a:prstGeom>
        <a:solidFill>
          <a:schemeClr val="accent1">
            <a:tint val="55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dk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300000" prstMaterial="plastic"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3576" tIns="163576" rIns="163576" bIns="163576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2300" b="1" kern="1200">
              <a:solidFill>
                <a:schemeClr val="tx1"/>
              </a:solidFill>
            </a:rPr>
            <a:t>Žádná znalost - referent</a:t>
          </a:r>
        </a:p>
      </dsp:txBody>
      <dsp:txXfrm>
        <a:off x="0" y="3802359"/>
        <a:ext cx="2851516" cy="1054467"/>
      </dsp:txXfrm>
    </dsp:sp>
    <dsp:sp modelId="{1D6DA1FB-AA43-4CEF-BA62-09C711D1D0CF}">
      <dsp:nvSpPr>
        <dsp:cNvPr id="0" name=""/>
        <dsp:cNvSpPr/>
      </dsp:nvSpPr>
      <dsp:spPr>
        <a:xfrm>
          <a:off x="0" y="2572148"/>
          <a:ext cx="9505056" cy="1054467"/>
        </a:xfrm>
        <a:prstGeom prst="roundRect">
          <a:avLst>
            <a:gd name="adj" fmla="val 10000"/>
          </a:avLst>
        </a:prstGeom>
        <a:solidFill>
          <a:schemeClr val="accent1">
            <a:tint val="55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dk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300000" prstMaterial="plastic"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3576" tIns="163576" rIns="163576" bIns="163576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2300" b="1" kern="1200">
              <a:solidFill>
                <a:schemeClr val="tx1"/>
              </a:solidFill>
            </a:rPr>
            <a:t>Nižší znalost – odbor / oddělení</a:t>
          </a:r>
        </a:p>
      </dsp:txBody>
      <dsp:txXfrm>
        <a:off x="0" y="2572148"/>
        <a:ext cx="2851516" cy="1054467"/>
      </dsp:txXfrm>
    </dsp:sp>
    <dsp:sp modelId="{6AA51955-4F3D-4E8D-AA4B-088227CDB209}">
      <dsp:nvSpPr>
        <dsp:cNvPr id="0" name=""/>
        <dsp:cNvSpPr/>
      </dsp:nvSpPr>
      <dsp:spPr>
        <a:xfrm>
          <a:off x="0" y="1341936"/>
          <a:ext cx="9505056" cy="1054467"/>
        </a:xfrm>
        <a:prstGeom prst="roundRect">
          <a:avLst>
            <a:gd name="adj" fmla="val 10000"/>
          </a:avLst>
        </a:prstGeom>
        <a:solidFill>
          <a:schemeClr val="accent1">
            <a:tint val="55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dk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300000" prstMaterial="plastic"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3576" tIns="163576" rIns="163576" bIns="163576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2300" b="1" kern="1200">
              <a:solidFill>
                <a:schemeClr val="tx1"/>
              </a:solidFill>
            </a:rPr>
            <a:t>Vyšší znalost - úsek</a:t>
          </a:r>
        </a:p>
      </dsp:txBody>
      <dsp:txXfrm>
        <a:off x="0" y="1341936"/>
        <a:ext cx="2851516" cy="1054467"/>
      </dsp:txXfrm>
    </dsp:sp>
    <dsp:sp modelId="{243C3596-6092-4BEA-B82A-15AB5A1227A8}">
      <dsp:nvSpPr>
        <dsp:cNvPr id="0" name=""/>
        <dsp:cNvSpPr/>
      </dsp:nvSpPr>
      <dsp:spPr>
        <a:xfrm>
          <a:off x="0" y="111724"/>
          <a:ext cx="9505056" cy="1054467"/>
        </a:xfrm>
        <a:prstGeom prst="roundRect">
          <a:avLst>
            <a:gd name="adj" fmla="val 10000"/>
          </a:avLst>
        </a:prstGeom>
        <a:solidFill>
          <a:schemeClr val="accent1">
            <a:tint val="55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dk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300000" prstMaterial="plastic"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3576" tIns="163576" rIns="163576" bIns="163576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2300" b="1" kern="1200">
              <a:solidFill>
                <a:schemeClr val="tx1"/>
              </a:solidFill>
            </a:rPr>
            <a:t>Strategie, procesy, nástroje, provoz</a:t>
          </a:r>
        </a:p>
      </dsp:txBody>
      <dsp:txXfrm>
        <a:off x="0" y="111724"/>
        <a:ext cx="2851516" cy="1054467"/>
      </dsp:txXfrm>
    </dsp:sp>
    <dsp:sp modelId="{407DABC3-D2F7-43C5-A7A3-1DD9DD8B8C4D}">
      <dsp:nvSpPr>
        <dsp:cNvPr id="0" name=""/>
        <dsp:cNvSpPr/>
      </dsp:nvSpPr>
      <dsp:spPr>
        <a:xfrm>
          <a:off x="5424193" y="199597"/>
          <a:ext cx="1318083" cy="878722"/>
        </a:xfrm>
        <a:prstGeom prst="roundRect">
          <a:avLst>
            <a:gd name="adj" fmla="val 10000"/>
          </a:avLst>
        </a:prstGeom>
        <a:solidFill>
          <a:schemeClr val="accent1">
            <a:shade val="6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500" b="1" kern="1200" dirty="0">
              <a:solidFill>
                <a:schemeClr val="tx1"/>
              </a:solidFill>
            </a:rPr>
            <a:t>Kompetenční centrum</a:t>
          </a:r>
        </a:p>
      </dsp:txBody>
      <dsp:txXfrm>
        <a:off x="5449930" y="225334"/>
        <a:ext cx="1266609" cy="827248"/>
      </dsp:txXfrm>
    </dsp:sp>
    <dsp:sp modelId="{952BA0EC-CB6A-4FDA-AD4F-083FC6466D00}">
      <dsp:nvSpPr>
        <dsp:cNvPr id="0" name=""/>
        <dsp:cNvSpPr/>
      </dsp:nvSpPr>
      <dsp:spPr>
        <a:xfrm>
          <a:off x="4369726" y="1078319"/>
          <a:ext cx="1713509" cy="351489"/>
        </a:xfrm>
        <a:custGeom>
          <a:avLst/>
          <a:gdLst/>
          <a:ahLst/>
          <a:cxnLst/>
          <a:rect l="0" t="0" r="0" b="0"/>
          <a:pathLst>
            <a:path>
              <a:moveTo>
                <a:pt x="1713509" y="0"/>
              </a:moveTo>
              <a:lnTo>
                <a:pt x="1713509" y="175744"/>
              </a:lnTo>
              <a:lnTo>
                <a:pt x="0" y="175744"/>
              </a:lnTo>
              <a:lnTo>
                <a:pt x="0" y="351489"/>
              </a:lnTo>
            </a:path>
          </a:pathLst>
        </a:custGeom>
        <a:noFill/>
        <a:ln w="25400" cap="flat" cmpd="sng" algn="ctr">
          <a:solidFill>
            <a:srgbClr val="00875A"/>
          </a:solidFill>
          <a:prstDash val="solid"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110000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CACE9D4-A91C-4067-A8C6-62133EEF9F3F}">
      <dsp:nvSpPr>
        <dsp:cNvPr id="0" name=""/>
        <dsp:cNvSpPr/>
      </dsp:nvSpPr>
      <dsp:spPr>
        <a:xfrm>
          <a:off x="3710684" y="1429808"/>
          <a:ext cx="1318083" cy="878722"/>
        </a:xfrm>
        <a:prstGeom prst="roundRect">
          <a:avLst>
            <a:gd name="adj" fmla="val 10000"/>
          </a:avLst>
        </a:prstGeom>
        <a:solidFill>
          <a:schemeClr val="accent1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500" b="1" kern="1200" dirty="0">
              <a:solidFill>
                <a:schemeClr val="tx1"/>
              </a:solidFill>
            </a:rPr>
            <a:t>Citizen developer senior</a:t>
          </a:r>
        </a:p>
      </dsp:txBody>
      <dsp:txXfrm>
        <a:off x="3736421" y="1455545"/>
        <a:ext cx="1266609" cy="827248"/>
      </dsp:txXfrm>
    </dsp:sp>
    <dsp:sp modelId="{CC465B40-F1B2-4569-BECA-E724A024FAAC}">
      <dsp:nvSpPr>
        <dsp:cNvPr id="0" name=""/>
        <dsp:cNvSpPr/>
      </dsp:nvSpPr>
      <dsp:spPr>
        <a:xfrm>
          <a:off x="3512972" y="2308531"/>
          <a:ext cx="856754" cy="351489"/>
        </a:xfrm>
        <a:custGeom>
          <a:avLst/>
          <a:gdLst/>
          <a:ahLst/>
          <a:cxnLst/>
          <a:rect l="0" t="0" r="0" b="0"/>
          <a:pathLst>
            <a:path>
              <a:moveTo>
                <a:pt x="856754" y="0"/>
              </a:moveTo>
              <a:lnTo>
                <a:pt x="856754" y="175744"/>
              </a:lnTo>
              <a:lnTo>
                <a:pt x="0" y="175744"/>
              </a:lnTo>
              <a:lnTo>
                <a:pt x="0" y="351489"/>
              </a:lnTo>
            </a:path>
          </a:pathLst>
        </a:custGeom>
        <a:noFill/>
        <a:ln w="25400" cap="flat" cmpd="sng" algn="ctr">
          <a:solidFill>
            <a:srgbClr val="00875A"/>
          </a:solidFill>
          <a:prstDash val="solid"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110000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894D39B-8126-4077-A08B-DAD42FE277D1}">
      <dsp:nvSpPr>
        <dsp:cNvPr id="0" name=""/>
        <dsp:cNvSpPr/>
      </dsp:nvSpPr>
      <dsp:spPr>
        <a:xfrm>
          <a:off x="2853930" y="2660020"/>
          <a:ext cx="1318083" cy="878722"/>
        </a:xfrm>
        <a:prstGeom prst="roundRect">
          <a:avLst>
            <a:gd name="adj" fmla="val 10000"/>
          </a:avLst>
        </a:prstGeom>
        <a:solidFill>
          <a:schemeClr val="accent1">
            <a:tint val="99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500" b="1" kern="1200" dirty="0">
              <a:solidFill>
                <a:schemeClr val="tx1"/>
              </a:solidFill>
            </a:rPr>
            <a:t>Citizen developer junior</a:t>
          </a:r>
        </a:p>
      </dsp:txBody>
      <dsp:txXfrm>
        <a:off x="2879667" y="2685757"/>
        <a:ext cx="1266609" cy="827248"/>
      </dsp:txXfrm>
    </dsp:sp>
    <dsp:sp modelId="{B846AC85-9E65-4A18-B7BB-50913CC03C3D}">
      <dsp:nvSpPr>
        <dsp:cNvPr id="0" name=""/>
        <dsp:cNvSpPr/>
      </dsp:nvSpPr>
      <dsp:spPr>
        <a:xfrm>
          <a:off x="3467252" y="3538743"/>
          <a:ext cx="91440" cy="351489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351489"/>
              </a:lnTo>
            </a:path>
          </a:pathLst>
        </a:custGeom>
        <a:noFill/>
        <a:ln w="25400" cap="flat" cmpd="sng" algn="ctr">
          <a:solidFill>
            <a:srgbClr val="00875A"/>
          </a:solidFill>
          <a:prstDash val="solid"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110000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255936E-6562-4CD3-B99A-369B76718812}">
      <dsp:nvSpPr>
        <dsp:cNvPr id="0" name=""/>
        <dsp:cNvSpPr/>
      </dsp:nvSpPr>
      <dsp:spPr>
        <a:xfrm>
          <a:off x="2853930" y="3890232"/>
          <a:ext cx="1318083" cy="878722"/>
        </a:xfrm>
        <a:prstGeom prst="roundRect">
          <a:avLst>
            <a:gd name="adj" fmla="val 10000"/>
          </a:avLst>
        </a:prstGeom>
        <a:solidFill>
          <a:schemeClr val="accent1">
            <a:tint val="7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500" b="1" kern="1200" dirty="0">
              <a:solidFill>
                <a:schemeClr val="tx1"/>
              </a:solidFill>
            </a:rPr>
            <a:t>Pasivní uživatelé</a:t>
          </a:r>
        </a:p>
      </dsp:txBody>
      <dsp:txXfrm>
        <a:off x="2879667" y="3915969"/>
        <a:ext cx="1266609" cy="827248"/>
      </dsp:txXfrm>
    </dsp:sp>
    <dsp:sp modelId="{CEC76C7C-912A-456A-A013-D61C250BBCEC}">
      <dsp:nvSpPr>
        <dsp:cNvPr id="0" name=""/>
        <dsp:cNvSpPr/>
      </dsp:nvSpPr>
      <dsp:spPr>
        <a:xfrm>
          <a:off x="4369726" y="2308531"/>
          <a:ext cx="856754" cy="35148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75744"/>
              </a:lnTo>
              <a:lnTo>
                <a:pt x="856754" y="175744"/>
              </a:lnTo>
              <a:lnTo>
                <a:pt x="856754" y="351489"/>
              </a:lnTo>
            </a:path>
          </a:pathLst>
        </a:custGeom>
        <a:noFill/>
        <a:ln w="25400" cap="flat" cmpd="sng" algn="ctr">
          <a:solidFill>
            <a:srgbClr val="00875A"/>
          </a:solidFill>
          <a:prstDash val="solid"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110000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13F1D48-CB5B-499F-B34B-57A768671D86}">
      <dsp:nvSpPr>
        <dsp:cNvPr id="0" name=""/>
        <dsp:cNvSpPr/>
      </dsp:nvSpPr>
      <dsp:spPr>
        <a:xfrm>
          <a:off x="4567439" y="2660020"/>
          <a:ext cx="1318083" cy="878722"/>
        </a:xfrm>
        <a:prstGeom prst="roundRect">
          <a:avLst>
            <a:gd name="adj" fmla="val 10000"/>
          </a:avLst>
        </a:prstGeom>
        <a:solidFill>
          <a:schemeClr val="accent1">
            <a:tint val="99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500" b="1" kern="1200" dirty="0">
              <a:solidFill>
                <a:schemeClr val="tx1"/>
              </a:solidFill>
            </a:rPr>
            <a:t>Digitální ambasador</a:t>
          </a:r>
        </a:p>
      </dsp:txBody>
      <dsp:txXfrm>
        <a:off x="4593176" y="2685757"/>
        <a:ext cx="1266609" cy="827248"/>
      </dsp:txXfrm>
    </dsp:sp>
    <dsp:sp modelId="{89004BA3-C5B4-4840-9363-89EEE44BACEC}">
      <dsp:nvSpPr>
        <dsp:cNvPr id="0" name=""/>
        <dsp:cNvSpPr/>
      </dsp:nvSpPr>
      <dsp:spPr>
        <a:xfrm>
          <a:off x="5180761" y="3538743"/>
          <a:ext cx="91440" cy="351489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351489"/>
              </a:lnTo>
            </a:path>
          </a:pathLst>
        </a:custGeom>
        <a:noFill/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110000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A102FEB-0571-4B2A-A47A-B2DAF90595D7}">
      <dsp:nvSpPr>
        <dsp:cNvPr id="0" name=""/>
        <dsp:cNvSpPr/>
      </dsp:nvSpPr>
      <dsp:spPr>
        <a:xfrm>
          <a:off x="4567439" y="3890232"/>
          <a:ext cx="1318083" cy="878722"/>
        </a:xfrm>
        <a:prstGeom prst="roundRect">
          <a:avLst>
            <a:gd name="adj" fmla="val 10000"/>
          </a:avLst>
        </a:prstGeom>
        <a:solidFill>
          <a:srgbClr val="40C400">
            <a:tint val="70000"/>
            <a:hueOff val="0"/>
            <a:satOff val="0"/>
            <a:lumOff val="0"/>
            <a:alphaOff val="0"/>
          </a:srgb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500" b="1" kern="1200" dirty="0">
              <a:solidFill>
                <a:schemeClr val="tx1"/>
              </a:solidFill>
              <a:latin typeface="Segoe UI Light"/>
              <a:ea typeface="+mn-ea"/>
              <a:cs typeface="+mn-cs"/>
            </a:rPr>
            <a:t>Pasivní uživatelé</a:t>
          </a:r>
        </a:p>
      </dsp:txBody>
      <dsp:txXfrm>
        <a:off x="4593176" y="3915969"/>
        <a:ext cx="1266609" cy="827248"/>
      </dsp:txXfrm>
    </dsp:sp>
    <dsp:sp modelId="{CECBD3C1-BD1C-401F-B58A-3F126CBEFDD2}">
      <dsp:nvSpPr>
        <dsp:cNvPr id="0" name=""/>
        <dsp:cNvSpPr/>
      </dsp:nvSpPr>
      <dsp:spPr>
        <a:xfrm>
          <a:off x="6083235" y="1078319"/>
          <a:ext cx="1713509" cy="35148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75744"/>
              </a:lnTo>
              <a:lnTo>
                <a:pt x="1713509" y="175744"/>
              </a:lnTo>
              <a:lnTo>
                <a:pt x="1713509" y="351489"/>
              </a:lnTo>
            </a:path>
          </a:pathLst>
        </a:custGeom>
        <a:noFill/>
        <a:ln w="25400" cap="flat" cmpd="sng" algn="ctr">
          <a:solidFill>
            <a:srgbClr val="00875A"/>
          </a:solidFill>
          <a:prstDash val="solid"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110000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E8E8E13-ECC9-4B4E-B20C-B4BFB52EE5EA}">
      <dsp:nvSpPr>
        <dsp:cNvPr id="0" name=""/>
        <dsp:cNvSpPr/>
      </dsp:nvSpPr>
      <dsp:spPr>
        <a:xfrm>
          <a:off x="7137702" y="1429808"/>
          <a:ext cx="1318083" cy="878722"/>
        </a:xfrm>
        <a:prstGeom prst="roundRect">
          <a:avLst>
            <a:gd name="adj" fmla="val 10000"/>
          </a:avLst>
        </a:prstGeom>
        <a:solidFill>
          <a:schemeClr val="accent1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500" b="1" kern="1200" dirty="0">
              <a:solidFill>
                <a:schemeClr val="tx1"/>
              </a:solidFill>
            </a:rPr>
            <a:t>Citizen developer senior</a:t>
          </a:r>
        </a:p>
      </dsp:txBody>
      <dsp:txXfrm>
        <a:off x="7163439" y="1455545"/>
        <a:ext cx="1266609" cy="827248"/>
      </dsp:txXfrm>
    </dsp:sp>
    <dsp:sp modelId="{EAB643EE-5A2B-4428-8E5D-946BB5355BF4}">
      <dsp:nvSpPr>
        <dsp:cNvPr id="0" name=""/>
        <dsp:cNvSpPr/>
      </dsp:nvSpPr>
      <dsp:spPr>
        <a:xfrm>
          <a:off x="6939990" y="2308531"/>
          <a:ext cx="856754" cy="351489"/>
        </a:xfrm>
        <a:custGeom>
          <a:avLst/>
          <a:gdLst/>
          <a:ahLst/>
          <a:cxnLst/>
          <a:rect l="0" t="0" r="0" b="0"/>
          <a:pathLst>
            <a:path>
              <a:moveTo>
                <a:pt x="856754" y="0"/>
              </a:moveTo>
              <a:lnTo>
                <a:pt x="856754" y="175744"/>
              </a:lnTo>
              <a:lnTo>
                <a:pt x="0" y="175744"/>
              </a:lnTo>
              <a:lnTo>
                <a:pt x="0" y="351489"/>
              </a:lnTo>
            </a:path>
          </a:pathLst>
        </a:custGeom>
        <a:noFill/>
        <a:ln w="25400" cap="flat" cmpd="sng" algn="ctr">
          <a:solidFill>
            <a:srgbClr val="00875A"/>
          </a:solidFill>
          <a:prstDash val="solid"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110000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A08BD70-C8B2-4ECC-99B8-93C3C2BF0FD3}">
      <dsp:nvSpPr>
        <dsp:cNvPr id="0" name=""/>
        <dsp:cNvSpPr/>
      </dsp:nvSpPr>
      <dsp:spPr>
        <a:xfrm>
          <a:off x="6280948" y="2660020"/>
          <a:ext cx="1318083" cy="878722"/>
        </a:xfrm>
        <a:prstGeom prst="roundRect">
          <a:avLst>
            <a:gd name="adj" fmla="val 10000"/>
          </a:avLst>
        </a:prstGeom>
        <a:solidFill>
          <a:schemeClr val="accent1">
            <a:tint val="99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500" b="1" kern="1200" dirty="0">
              <a:solidFill>
                <a:schemeClr val="tx1"/>
              </a:solidFill>
            </a:rPr>
            <a:t>Citizen developer junior</a:t>
          </a:r>
        </a:p>
      </dsp:txBody>
      <dsp:txXfrm>
        <a:off x="6306685" y="2685757"/>
        <a:ext cx="1266609" cy="827248"/>
      </dsp:txXfrm>
    </dsp:sp>
    <dsp:sp modelId="{519D5C0A-7076-4C51-AFB0-F21B1F8E9749}">
      <dsp:nvSpPr>
        <dsp:cNvPr id="0" name=""/>
        <dsp:cNvSpPr/>
      </dsp:nvSpPr>
      <dsp:spPr>
        <a:xfrm>
          <a:off x="6894270" y="3538743"/>
          <a:ext cx="91440" cy="351489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351489"/>
              </a:lnTo>
            </a:path>
          </a:pathLst>
        </a:custGeom>
        <a:noFill/>
        <a:ln w="25400" cap="flat" cmpd="sng" algn="ctr">
          <a:solidFill>
            <a:srgbClr val="00875A"/>
          </a:solidFill>
          <a:prstDash val="solid"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110000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C46DFFA-0A00-4308-8AAB-9CFFB345D9C7}">
      <dsp:nvSpPr>
        <dsp:cNvPr id="0" name=""/>
        <dsp:cNvSpPr/>
      </dsp:nvSpPr>
      <dsp:spPr>
        <a:xfrm>
          <a:off x="6280948" y="3890232"/>
          <a:ext cx="1318083" cy="878722"/>
        </a:xfrm>
        <a:prstGeom prst="roundRect">
          <a:avLst>
            <a:gd name="adj" fmla="val 10000"/>
          </a:avLst>
        </a:prstGeom>
        <a:solidFill>
          <a:schemeClr val="accent1">
            <a:tint val="70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500" b="1" kern="1200" dirty="0">
              <a:solidFill>
                <a:schemeClr val="tx1"/>
              </a:solidFill>
            </a:rPr>
            <a:t>Pasivní uživatelé</a:t>
          </a:r>
        </a:p>
      </dsp:txBody>
      <dsp:txXfrm>
        <a:off x="6306685" y="3915969"/>
        <a:ext cx="1266609" cy="827248"/>
      </dsp:txXfrm>
    </dsp:sp>
    <dsp:sp modelId="{A0DE3A63-E604-4C54-A06F-C9FF4A0F58A4}">
      <dsp:nvSpPr>
        <dsp:cNvPr id="0" name=""/>
        <dsp:cNvSpPr/>
      </dsp:nvSpPr>
      <dsp:spPr>
        <a:xfrm>
          <a:off x="7796744" y="2308531"/>
          <a:ext cx="856754" cy="35148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75744"/>
              </a:lnTo>
              <a:lnTo>
                <a:pt x="856754" y="175744"/>
              </a:lnTo>
              <a:lnTo>
                <a:pt x="856754" y="351489"/>
              </a:lnTo>
            </a:path>
          </a:pathLst>
        </a:custGeom>
        <a:noFill/>
        <a:ln w="25400" cap="flat" cmpd="sng" algn="ctr">
          <a:solidFill>
            <a:srgbClr val="00875A"/>
          </a:solidFill>
          <a:prstDash val="solid"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110000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8B9A96F-D9E1-4433-97E5-2BA600B8FE66}">
      <dsp:nvSpPr>
        <dsp:cNvPr id="0" name=""/>
        <dsp:cNvSpPr/>
      </dsp:nvSpPr>
      <dsp:spPr>
        <a:xfrm>
          <a:off x="7994457" y="2660020"/>
          <a:ext cx="1318083" cy="878722"/>
        </a:xfrm>
        <a:prstGeom prst="roundRect">
          <a:avLst>
            <a:gd name="adj" fmla="val 10000"/>
          </a:avLst>
        </a:prstGeom>
        <a:solidFill>
          <a:schemeClr val="accent1">
            <a:tint val="99000"/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500" b="1" kern="1200" dirty="0">
              <a:solidFill>
                <a:schemeClr val="tx1"/>
              </a:solidFill>
            </a:rPr>
            <a:t>Digitální ambasador</a:t>
          </a:r>
        </a:p>
      </dsp:txBody>
      <dsp:txXfrm>
        <a:off x="8020194" y="2685757"/>
        <a:ext cx="1266609" cy="827248"/>
      </dsp:txXfrm>
    </dsp:sp>
    <dsp:sp modelId="{FB80F0DE-07E4-4E5E-8BF1-B2820038D3DA}">
      <dsp:nvSpPr>
        <dsp:cNvPr id="0" name=""/>
        <dsp:cNvSpPr/>
      </dsp:nvSpPr>
      <dsp:spPr>
        <a:xfrm>
          <a:off x="8607779" y="3538743"/>
          <a:ext cx="91440" cy="351489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351489"/>
              </a:lnTo>
            </a:path>
          </a:pathLst>
        </a:custGeom>
        <a:noFill/>
        <a:ln w="254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110000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240CC56-2C7F-4B40-993B-A51168004D32}">
      <dsp:nvSpPr>
        <dsp:cNvPr id="0" name=""/>
        <dsp:cNvSpPr/>
      </dsp:nvSpPr>
      <dsp:spPr>
        <a:xfrm>
          <a:off x="7994457" y="3890232"/>
          <a:ext cx="1318083" cy="878722"/>
        </a:xfrm>
        <a:prstGeom prst="roundRect">
          <a:avLst>
            <a:gd name="adj" fmla="val 10000"/>
          </a:avLst>
        </a:prstGeom>
        <a:solidFill>
          <a:srgbClr val="40C400">
            <a:tint val="70000"/>
            <a:hueOff val="0"/>
            <a:satOff val="0"/>
            <a:lumOff val="0"/>
            <a:alphaOff val="0"/>
          </a:srgbClr>
        </a:soli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500" b="1" kern="1200">
              <a:solidFill>
                <a:schemeClr val="tx1"/>
              </a:solidFill>
              <a:latin typeface="Segoe UI Light"/>
              <a:ea typeface="+mn-ea"/>
              <a:cs typeface="+mn-cs"/>
            </a:rPr>
            <a:t>Pasivní uživatelé</a:t>
          </a:r>
        </a:p>
      </dsp:txBody>
      <dsp:txXfrm>
        <a:off x="8020194" y="3915969"/>
        <a:ext cx="1266609" cy="82724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9/3/layout/IncreasingArrowsProcess">
  <dgm:title val=""/>
  <dgm:desc val=""/>
  <dgm:catLst>
    <dgm:cat type="process" pri="5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clrData>
  <dgm:layoutNode name="Name0">
    <dgm:varLst>
      <dgm:chMax val="5"/>
      <dgm:chPref val="5"/>
      <dgm:dir/>
      <dgm:animLvl val="lvl"/>
    </dgm:varLst>
    <dgm:shape xmlns:r="http://schemas.openxmlformats.org/officeDocument/2006/relationships" r:blip="">
      <dgm:adjLst/>
    </dgm:shape>
    <dgm:choose name="Name1">
      <dgm:if name="Name2" axis="ch" ptType="node" func="cnt" op="equ" val="1">
        <dgm:choose name="Name3">
          <dgm:if name="Name4" axis="ch ch" ptType="node node" func="cnt" op="equ" val="0">
            <dgm:alg type="composite">
              <dgm:param type="ar" val="6.8662"/>
            </dgm:alg>
            <dgm:choose name="Name5">
              <dgm:if name="Name6" func="var" arg="dir" op="equ" val="norm">
                <dgm:constrLst>
                  <dgm:constr type="primFontSz" for="des" forName="parentText1" val="65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/>
                </dgm:constrLst>
              </dgm:if>
              <dgm:else name="Name7">
                <dgm:constrLst>
                  <dgm:constr type="primFontSz" for="des" forName="parentText1" val="65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/>
                </dgm:constrLst>
              </dgm:else>
            </dgm:choose>
          </dgm:if>
          <dgm:else name="Name8">
            <dgm:alg type="composite">
              <dgm:param type="ar" val="1.9864"/>
            </dgm:alg>
            <dgm:choose name="Name9">
              <dgm:if name="Name1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93"/>
                  <dgm:constr type="l" for="ch" forName="childText1" refType="w" fact="0"/>
                  <dgm:constr type="t" for="ch" forName="childText1" refType="h" fact="0.224"/>
                  <dgm:constr type="w" for="ch" forName="childText1" refType="w" fact="0.9241"/>
                  <dgm:constr type="h" for="ch" forName="childText1" refType="h" fact="0.776"/>
                </dgm:constrLst>
              </dgm:if>
              <dgm:else name="Name1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93"/>
                  <dgm:constr type="l" for="ch" forName="childText1" refType="w" fact="0.076"/>
                  <dgm:constr type="t" for="ch" forName="childText1" refType="h" fact="0.224"/>
                  <dgm:constr type="w" for="ch" forName="childText1" refType="w" fact="0.9241"/>
                  <dgm:constr type="h" for="ch" forName="childText1" refType="h" fact="0.776"/>
                </dgm:constrLst>
              </dgm:else>
            </dgm:choose>
          </dgm:else>
        </dgm:choose>
      </dgm:if>
      <dgm:if name="Name12" axis="ch" ptType="node" func="cnt" op="equ" val="2">
        <dgm:choose name="Name13">
          <dgm:if name="Name14" axis="ch ch" ptType="node node" func="cnt" op="equ" val="0">
            <dgm:alg type="composite">
              <dgm:param type="ar" val="5.1498"/>
            </dgm:alg>
            <dgm:choose name="Name15">
              <dgm:if name="Name1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7501"/>
                  <dgm:constr type="l" for="ch" forName="parentText2" refType="w" fact="0.462"/>
                  <dgm:constr type="t" for="ch" forName="parentText2" refType="h" fact="0.2499"/>
                  <dgm:constr type="w" for="ch" forName="parentText2" refType="w" fact="0.538"/>
                  <dgm:constr type="h" for="ch" forName="parentText2" refType="h" fact="0.7501"/>
                </dgm:constrLst>
              </dgm:if>
              <dgm:else name="Name1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7501"/>
                  <dgm:constr type="l" for="ch" forName="parentText2" refType="w" fact="0"/>
                  <dgm:constr type="t" for="ch" forName="parentText2" refType="h" fact="0.2499"/>
                  <dgm:constr type="w" for="ch" forName="parentText2" refType="w" fact="0.538"/>
                  <dgm:constr type="h" for="ch" forName="parentText2" refType="h" fact="0.7501"/>
                </dgm:constrLst>
              </dgm:else>
            </dgm:choose>
          </dgm:if>
          <dgm:else name="Name18">
            <dgm:alg type="composite">
              <dgm:param type="ar" val="2.0563"/>
            </dgm:alg>
            <dgm:choose name="Name19">
              <dgm:if name="Name2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parentText2" refType="primFontSz" refFor="des" refForName="parentText1" op="equ"/>
                  <dgm:constr type="primFontSz" for="des" forName="childText2" refType="primFontSz" refFor="des" refForName="child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995"/>
                  <dgm:constr type="l" for="ch" forName="parentText2" refType="w" fact="0.462"/>
                  <dgm:constr type="t" for="ch" forName="parentText2" refType="h" fact="0.0998"/>
                  <dgm:constr type="w" for="ch" forName="parentText2" refType="w" fact="0.538"/>
                  <dgm:constr type="h" for="ch" forName="parentText2" refType="h" fact="0.2995"/>
                  <dgm:constr type="l" for="ch" forName="childText1" refType="w" fact="0"/>
                  <dgm:constr type="t" for="ch" forName="childText1" refType="h" fact="0.2317"/>
                  <dgm:constr type="w" for="ch" forName="childText1" refType="w" fact="0.462"/>
                  <dgm:constr type="h" for="ch" forName="childText1" refType="h" fact="0.6685"/>
                  <dgm:constr type="l" for="ch" forName="childText2" refType="w" fact="0.462"/>
                  <dgm:constr type="t" for="ch" forName="childText2" refType="h" fact="0.3315"/>
                  <dgm:constr type="w" for="ch" forName="childText2" refType="w" fact="0.462"/>
                  <dgm:constr type="h" for="ch" forName="childText2" refType="h" fact="0.6685"/>
                </dgm:constrLst>
              </dgm:if>
              <dgm:else name="Name2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parentText2" refType="primFontSz" refFor="des" refForName="parentText1" op="equ"/>
                  <dgm:constr type="primFontSz" for="des" forName="childText2" refType="primFontSz" refFor="des" refForName="child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995"/>
                  <dgm:constr type="l" for="ch" forName="parentText2" refType="w" fact="0"/>
                  <dgm:constr type="t" for="ch" forName="parentText2" refType="h" fact="0.0998"/>
                  <dgm:constr type="w" for="ch" forName="parentText2" refType="w" fact="0.538"/>
                  <dgm:constr type="h" for="ch" forName="parentText2" refType="h" fact="0.2995"/>
                  <dgm:constr type="l" for="ch" forName="childText1" refType="w" fact="0.538"/>
                  <dgm:constr type="t" for="ch" forName="childText1" refType="h" fact="0.2317"/>
                  <dgm:constr type="w" for="ch" forName="childText1" refType="w" fact="0.462"/>
                  <dgm:constr type="h" for="ch" forName="childText1" refType="h" fact="0.6685"/>
                  <dgm:constr type="l" for="ch" forName="childText2" refType="w" fact="0.076"/>
                  <dgm:constr type="t" for="ch" forName="childText2" refType="h" fact="0.3315"/>
                  <dgm:constr type="w" for="ch" forName="childText2" refType="w" fact="0.462"/>
                  <dgm:constr type="h" for="ch" forName="childText2" refType="h" fact="0.6685"/>
                </dgm:constrLst>
              </dgm:else>
            </dgm:choose>
          </dgm:else>
        </dgm:choose>
      </dgm:if>
      <dgm:if name="Name22" axis="ch" ptType="node" func="cnt" op="equ" val="3">
        <dgm:choose name="Name23">
          <dgm:if name="Name24" axis="ch ch" ptType="node node" func="cnt" op="equ" val="0">
            <dgm:alg type="composite">
              <dgm:param type="ar" val="4.1198"/>
            </dgm:alg>
            <dgm:choose name="Name25">
              <dgm:if name="Name2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6"/>
                  <dgm:constr type="l" for="ch" forName="parentText2" refType="w" fact="0.308"/>
                  <dgm:constr type="t" for="ch" forName="parentText2" refType="h" fact="0.2"/>
                  <dgm:constr type="w" for="ch" forName="parentText2" refType="w" fact="0.692"/>
                  <dgm:constr type="h" for="ch" forName="parentText2" refType="h" fact="0.6"/>
                  <dgm:constr type="l" for="ch" forName="parentText3" refType="w" fact="0.616"/>
                  <dgm:constr type="t" for="ch" forName="parentText3" refType="h" fact="0.4"/>
                  <dgm:constr type="w" for="ch" forName="parentText3" refType="w" fact="0.384"/>
                  <dgm:constr type="h" for="ch" forName="parentText3" refType="h" fact="0.6"/>
                </dgm:constrLst>
              </dgm:if>
              <dgm:else name="Name2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6"/>
                  <dgm:constr type="l" for="ch" forName="parentText2" refType="w" fact="0"/>
                  <dgm:constr type="t" for="ch" forName="parentText2" refType="h" fact="0.2"/>
                  <dgm:constr type="w" for="ch" forName="parentText2" refType="w" fact="0.692"/>
                  <dgm:constr type="h" for="ch" forName="parentText2" refType="h" fact="0.6"/>
                  <dgm:constr type="l" for="ch" forName="parentText3" refType="w" fact="0"/>
                  <dgm:constr type="t" for="ch" forName="parentText3" refType="h" fact="0.4"/>
                  <dgm:constr type="w" for="ch" forName="parentText3" refType="w" fact="0.384"/>
                  <dgm:constr type="h" for="ch" forName="parentText3" refType="h" fact="0.6"/>
                </dgm:constrLst>
              </dgm:else>
            </dgm:choose>
          </dgm:if>
          <dgm:else name="Name28">
            <dgm:alg type="composite">
              <dgm:param type="ar" val="2.0702"/>
            </dgm:alg>
            <dgm:choose name="Name29">
              <dgm:if name="Name3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l" for="ch" forName="childText1" refType="w" fact="0"/>
                  <dgm:constr type="t" for="ch" forName="childText1" refType="h" fact="0.2325"/>
                  <dgm:constr type="w" for="ch" forName="childText1" refType="w" fact="0.308"/>
                  <dgm:constr type="h" for="ch" forName="childText1" refType="h" fact="0.5808"/>
                  <dgm:constr type="l" for="ch" forName="childText2" refType="w" fact="0.308"/>
                  <dgm:constr type="t" for="ch" forName="childText2" refType="h" fact="0.333"/>
                  <dgm:constr type="w" for="ch" forName="childText2" refType="w" fact="0.308"/>
                  <dgm:constr type="h" for="ch" forName="childText2" refType="h" fact="0.5808"/>
                  <dgm:constr type="l" for="ch" forName="childText3" refType="w" fact="0.616"/>
                  <dgm:constr type="t" for="ch" forName="childText3" refType="h" fact="0.4335"/>
                  <dgm:constr type="w" for="ch" forName="childText3" refType="w" fact="0.308"/>
                  <dgm:constr type="h" for="ch" forName="childText3" refType="h" fact="0.572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3015"/>
                  <dgm:constr type="l" for="ch" forName="parentText2" refType="w" fact="0.308"/>
                  <dgm:constr type="t" for="ch" forName="parentText2" refType="h" fact="0.1005"/>
                  <dgm:constr type="w" for="ch" forName="parentText2" refType="w" fact="0.692"/>
                  <dgm:constr type="h" for="ch" forName="parentText2" refType="h" fact="0.3015"/>
                  <dgm:constr type="l" for="ch" forName="parentText3" refType="w" fact="0.616"/>
                  <dgm:constr type="t" for="ch" forName="parentText3" refType="h" fact="0.201"/>
                  <dgm:constr type="w" for="ch" forName="parentText3" refType="w" fact="0.384"/>
                  <dgm:constr type="h" for="ch" forName="parentText3" refType="h" fact="0.3015"/>
                </dgm:constrLst>
              </dgm:if>
              <dgm:else name="Name3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l" for="ch" forName="childText1" refType="w" fact="0.692"/>
                  <dgm:constr type="t" for="ch" forName="childText1" refType="h" fact="0.2325"/>
                  <dgm:constr type="w" for="ch" forName="childText1" refType="w" fact="0.308"/>
                  <dgm:constr type="h" for="ch" forName="childText1" refType="h" fact="0.5808"/>
                  <dgm:constr type="l" for="ch" forName="childText2" refType="w" fact="0.384"/>
                  <dgm:constr type="t" for="ch" forName="childText2" refType="h" fact="0.333"/>
                  <dgm:constr type="w" for="ch" forName="childText2" refType="w" fact="0.308"/>
                  <dgm:constr type="h" for="ch" forName="childText2" refType="h" fact="0.5808"/>
                  <dgm:constr type="l" for="ch" forName="childText3" refType="w" fact="0.076"/>
                  <dgm:constr type="t" for="ch" forName="childText3" refType="h" fact="0.4335"/>
                  <dgm:constr type="w" for="ch" forName="childText3" refType="w" fact="0.308"/>
                  <dgm:constr type="h" for="ch" forName="childText3" refType="h" fact="0.572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3015"/>
                  <dgm:constr type="l" for="ch" forName="parentText2" refType="w" fact="0"/>
                  <dgm:constr type="t" for="ch" forName="parentText2" refType="h" fact="0.1005"/>
                  <dgm:constr type="w" for="ch" forName="parentText2" refType="w" fact="0.692"/>
                  <dgm:constr type="h" for="ch" forName="parentText2" refType="h" fact="0.3015"/>
                  <dgm:constr type="l" for="ch" forName="parentText3" refType="w" fact="0"/>
                  <dgm:constr type="t" for="ch" forName="parentText3" refType="h" fact="0.201"/>
                  <dgm:constr type="w" for="ch" forName="parentText3" refType="w" fact="0.384"/>
                  <dgm:constr type="h" for="ch" forName="parentText3" refType="h" fact="0.3015"/>
                </dgm:constrLst>
              </dgm:else>
            </dgm:choose>
          </dgm:else>
        </dgm:choose>
      </dgm:if>
      <dgm:if name="Name32" axis="ch" ptType="node" func="cnt" op="equ" val="4">
        <dgm:choose name="Name33">
          <dgm:if name="Name34" axis="ch ch" ptType="node node" func="cnt" op="equ" val="0">
            <dgm:alg type="composite">
              <dgm:param type="ar" val="3.435"/>
            </dgm:alg>
            <dgm:choose name="Name35">
              <dgm:if name="Name3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5001"/>
                  <dgm:constr type="l" for="ch" forName="parentText2" refType="w" fact="0.2305"/>
                  <dgm:constr type="t" for="ch" forName="parentText2" refType="h" fact="0.1666"/>
                  <dgm:constr type="w" for="ch" forName="parentText2" refType="w" fact="0.7695"/>
                  <dgm:constr type="h" for="ch" forName="parentText2" refType="h" fact="0.5001"/>
                  <dgm:constr type="l" for="ch" forName="parentText3" refType="w" fact="0.461"/>
                  <dgm:constr type="t" for="ch" forName="parentText3" refType="h" fact="0.3333"/>
                  <dgm:constr type="w" for="ch" forName="parentText3" refType="w" fact="0.539"/>
                  <dgm:constr type="h" for="ch" forName="parentText3" refType="h" fact="0.5001"/>
                  <dgm:constr type="l" for="ch" forName="parentText4" refType="w" fact="0.6915"/>
                  <dgm:constr type="t" for="ch" forName="parentText4" refType="h" fact="0.4999"/>
                  <dgm:constr type="w" for="ch" forName="parentText4" refType="w" fact="0.3085"/>
                  <dgm:constr type="h" for="ch" forName="parentText4" refType="h" fact="0.5001"/>
                </dgm:constrLst>
              </dgm:if>
              <dgm:else name="Name3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5001"/>
                  <dgm:constr type="l" for="ch" forName="parentText2" refType="w" fact="0"/>
                  <dgm:constr type="t" for="ch" forName="parentText2" refType="h" fact="0.1666"/>
                  <dgm:constr type="w" for="ch" forName="parentText2" refType="w" fact="0.7695"/>
                  <dgm:constr type="h" for="ch" forName="parentText2" refType="h" fact="0.5001"/>
                  <dgm:constr type="l" for="ch" forName="parentText3" refType="w" fact="0"/>
                  <dgm:constr type="t" for="ch" forName="parentText3" refType="h" fact="0.3333"/>
                  <dgm:constr type="w" for="ch" forName="parentText3" refType="w" fact="0.539"/>
                  <dgm:constr type="h" for="ch" forName="parentText3" refType="h" fact="0.5001"/>
                  <dgm:constr type="l" for="ch" forName="parentText4" refType="w" fact="0"/>
                  <dgm:constr type="t" for="ch" forName="parentText4" refType="h" fact="0.4999"/>
                  <dgm:constr type="w" for="ch" forName="parentText4" refType="w" fact="0.3085"/>
                  <dgm:constr type="h" for="ch" forName="parentText4" refType="h" fact="0.5001"/>
                </dgm:constrLst>
              </dgm:else>
            </dgm:choose>
          </dgm:if>
          <dgm:else name="Name38">
            <dgm:alg type="composite">
              <dgm:param type="ar" val="1.9377"/>
            </dgm:alg>
            <dgm:choose name="Name39">
              <dgm:if name="Name4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l" for="ch" forName="childText1" refType="w" fact="0"/>
                  <dgm:constr type="t" for="ch" forName="childText1" refType="h" fact="0.218"/>
                  <dgm:constr type="w" for="ch" forName="childText1" refType="w" fact="0.2305"/>
                  <dgm:constr type="h" for="ch" forName="childText1" refType="h" fact="0.5218"/>
                  <dgm:constr type="l" for="ch" forName="childText2" refType="w" fact="0.2305"/>
                  <dgm:constr type="t" for="ch" forName="childText2" refType="h" fact="0.312"/>
                  <dgm:constr type="w" for="ch" forName="childText2" refType="w" fact="0.2305"/>
                  <dgm:constr type="h" for="ch" forName="childText2" refType="h" fact="0.5085"/>
                  <dgm:constr type="l" for="ch" forName="childText3" refType="w" fact="0.461"/>
                  <dgm:constr type="t" for="ch" forName="childText3" refType="h" fact="0.406"/>
                  <dgm:constr type="w" for="ch" forName="childText3" refType="w" fact="0.2305"/>
                  <dgm:constr type="h" for="ch" forName="childText3" refType="h" fact="0.5119"/>
                  <dgm:constr type="l" for="ch" forName="childText4" refType="w" fact="0.6915"/>
                  <dgm:constr type="t" for="ch" forName="childText4" refType="h" fact="0.5"/>
                  <dgm:constr type="w" for="ch" forName="childText4" refType="w" fact="0.2326"/>
                  <dgm:constr type="h" for="ch" forName="childText4" refType="h" fact="0.5179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21"/>
                  <dgm:constr type="l" for="ch" forName="parentText2" refType="w" fact="0.2305"/>
                  <dgm:constr type="t" for="ch" forName="parentText2" refType="h" fact="0.094"/>
                  <dgm:constr type="w" for="ch" forName="parentText2" refType="w" fact="0.7695"/>
                  <dgm:constr type="h" for="ch" forName="parentText2" refType="h" fact="0.2821"/>
                  <dgm:constr type="l" for="ch" forName="parentText3" refType="w" fact="0.461"/>
                  <dgm:constr type="t" for="ch" forName="parentText3" refType="h" fact="0.188"/>
                  <dgm:constr type="w" for="ch" forName="parentText3" refType="w" fact="0.539"/>
                  <dgm:constr type="h" for="ch" forName="parentText3" refType="h" fact="0.2821"/>
                  <dgm:constr type="l" for="ch" forName="parentText4" refType="w" fact="0.6915"/>
                  <dgm:constr type="t" for="ch" forName="parentText4" refType="h" fact="0.282"/>
                  <dgm:constr type="w" for="ch" forName="parentText4" refType="w" fact="0.3085"/>
                  <dgm:constr type="h" for="ch" forName="parentText4" refType="h" fact="0.2821"/>
                </dgm:constrLst>
              </dgm:if>
              <dgm:else name="Name4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l" for="ch" forName="childText1" refType="w" fact="0.7695"/>
                  <dgm:constr type="t" for="ch" forName="childText1" refType="h" fact="0.218"/>
                  <dgm:constr type="w" for="ch" forName="childText1" refType="w" fact="0.2305"/>
                  <dgm:constr type="h" for="ch" forName="childText1" refType="h" fact="0.5218"/>
                  <dgm:constr type="l" for="ch" forName="childText2" refType="w" fact="0.539"/>
                  <dgm:constr type="t" for="ch" forName="childText2" refType="h" fact="0.312"/>
                  <dgm:constr type="w" for="ch" forName="childText2" refType="w" fact="0.2305"/>
                  <dgm:constr type="h" for="ch" forName="childText2" refType="h" fact="0.5085"/>
                  <dgm:constr type="l" for="ch" forName="childText3" refType="w" fact="0.3085"/>
                  <dgm:constr type="t" for="ch" forName="childText3" refType="h" fact="0.406"/>
                  <dgm:constr type="w" for="ch" forName="childText3" refType="w" fact="0.2305"/>
                  <dgm:constr type="h" for="ch" forName="childText3" refType="h" fact="0.5119"/>
                  <dgm:constr type="l" for="ch" forName="childText4" refType="w" fact="0.076"/>
                  <dgm:constr type="t" for="ch" forName="childText4" refType="h" fact="0.5"/>
                  <dgm:constr type="w" for="ch" forName="childText4" refType="w" fact="0.2346"/>
                  <dgm:constr type="h" for="ch" forName="childText4" refType="h" fact="0.5179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21"/>
                  <dgm:constr type="l" for="ch" forName="parentText2" refType="w" fact="0"/>
                  <dgm:constr type="t" for="ch" forName="parentText2" refType="h" fact="0.094"/>
                  <dgm:constr type="w" for="ch" forName="parentText2" refType="w" fact="0.7695"/>
                  <dgm:constr type="h" for="ch" forName="parentText2" refType="h" fact="0.2821"/>
                  <dgm:constr type="l" for="ch" forName="parentText3" refType="w" fact="0"/>
                  <dgm:constr type="t" for="ch" forName="parentText3" refType="h" fact="0.188"/>
                  <dgm:constr type="w" for="ch" forName="parentText3" refType="w" fact="0.539"/>
                  <dgm:constr type="h" for="ch" forName="parentText3" refType="h" fact="0.2821"/>
                  <dgm:constr type="l" for="ch" forName="parentText4" refType="w" fact="0"/>
                  <dgm:constr type="t" for="ch" forName="parentText4" refType="h" fact="0.282"/>
                  <dgm:constr type="w" for="ch" forName="parentText4" refType="w" fact="0.3085"/>
                  <dgm:constr type="h" for="ch" forName="parentText4" refType="h" fact="0.2821"/>
                </dgm:constrLst>
              </dgm:else>
            </dgm:choose>
          </dgm:else>
        </dgm:choose>
      </dgm:if>
      <dgm:else name="Name42">
        <dgm:choose name="Name43">
          <dgm:if name="Name44" axis="ch ch" ptType="node node" func="cnt" op="equ" val="0">
            <dgm:alg type="composite">
              <dgm:param type="ar" val="2.9463"/>
            </dgm:alg>
            <dgm:choose name="Name45">
              <dgm:if name="Name4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4285"/>
                  <dgm:constr type="l" for="ch" forName="parentText2" refType="w" fact="0.1848"/>
                  <dgm:constr type="t" for="ch" forName="parentText2" refType="h" fact="0.1429"/>
                  <dgm:constr type="w" for="ch" forName="parentText2" refType="w" fact="0.8152"/>
                  <dgm:constr type="h" for="ch" forName="parentText2" refType="h" fact="0.4285"/>
                  <dgm:constr type="l" for="ch" forName="parentText3" refType="w" fact="0.3696"/>
                  <dgm:constr type="t" for="ch" forName="parentText3" refType="h" fact="0.2858"/>
                  <dgm:constr type="w" for="ch" forName="parentText3" refType="w" fact="0.6304"/>
                  <dgm:constr type="h" for="ch" forName="parentText3" refType="h" fact="0.4285"/>
                  <dgm:constr type="l" for="ch" forName="parentText4" refType="w" fact="0.5545"/>
                  <dgm:constr type="t" for="ch" forName="parentText4" refType="h" fact="0.4286"/>
                  <dgm:constr type="w" for="ch" forName="parentText4" refType="w" fact="0.4455"/>
                  <dgm:constr type="h" for="ch" forName="parentText4" refType="h" fact="0.4285"/>
                  <dgm:constr type="l" for="ch" forName="parentText5" refType="w" fact="0.7393"/>
                  <dgm:constr type="t" for="ch" forName="parentText5" refType="h" fact="0.5715"/>
                  <dgm:constr type="w" for="ch" forName="parentText5" refType="w" fact="0.2607"/>
                  <dgm:constr type="h" for="ch" forName="parentText5" refType="h" fact="0.4285"/>
                </dgm:constrLst>
              </dgm:if>
              <dgm:else name="Name4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4285"/>
                  <dgm:constr type="l" for="ch" forName="parentText2" refType="w" fact="0"/>
                  <dgm:constr type="t" for="ch" forName="parentText2" refType="h" fact="0.1429"/>
                  <dgm:constr type="w" for="ch" forName="parentText2" refType="w" fact="0.8152"/>
                  <dgm:constr type="h" for="ch" forName="parentText2" refType="h" fact="0.4285"/>
                  <dgm:constr type="l" for="ch" forName="parentText3" refType="w" fact="0"/>
                  <dgm:constr type="t" for="ch" forName="parentText3" refType="h" fact="0.2858"/>
                  <dgm:constr type="w" for="ch" forName="parentText3" refType="w" fact="0.6304"/>
                  <dgm:constr type="h" for="ch" forName="parentText3" refType="h" fact="0.4285"/>
                  <dgm:constr type="l" for="ch" forName="parentText4" refType="w" fact="0"/>
                  <dgm:constr type="t" for="ch" forName="parentText4" refType="h" fact="0.4286"/>
                  <dgm:constr type="w" for="ch" forName="parentText4" refType="w" fact="0.4455"/>
                  <dgm:constr type="h" for="ch" forName="parentText4" refType="h" fact="0.4285"/>
                  <dgm:constr type="l" for="ch" forName="parentText5" refType="w" fact="0"/>
                  <dgm:constr type="t" for="ch" forName="parentText5" refType="h" fact="0.5715"/>
                  <dgm:constr type="w" for="ch" forName="parentText5" refType="w" fact="0.2607"/>
                  <dgm:constr type="h" for="ch" forName="parentText5" refType="h" fact="0.4285"/>
                </dgm:constrLst>
              </dgm:else>
            </dgm:choose>
          </dgm:if>
          <dgm:else name="Name48">
            <dgm:alg type="composite">
              <dgm:param type="ar" val="1.7837"/>
            </dgm:alg>
            <dgm:choose name="Name49">
              <dgm:if name="Name5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5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5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5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childText5" refType="primFontSz" refFor="des" refForName="parentText4" op="lte"/>
                  <dgm:constr type="primFontSz" for="des" forName="childText1" refType="primFontSz" refFor="des" refForName="parentText5" op="lte"/>
                  <dgm:constr type="primFontSz" for="des" forName="childText2" refType="primFontSz" refFor="des" refForName="parentText5" op="lte"/>
                  <dgm:constr type="primFontSz" for="des" forName="childText3" refType="primFontSz" refFor="des" refForName="parentText5" op="lte"/>
                  <dgm:constr type="primFontSz" for="des" forName="childText4" refType="primFontSz" refFor="des" refForName="parentText5" op="lte"/>
                  <dgm:constr type="primFontSz" for="des" forName="childText5" refType="primFontSz" refFor="des" refForName="parentText5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primFontSz" for="des" forName="childText5" refType="primFontSz" refFor="des" refForName="childText1" op="equ"/>
                  <dgm:constr type="l" for="ch" forName="childText1" refType="w" fact="0"/>
                  <dgm:constr type="t" for="ch" forName="childText1" refType="h" fact="0.1997"/>
                  <dgm:constr type="w" for="ch" forName="childText1" refType="w" fact="0.18482"/>
                  <dgm:constr type="h" for="ch" forName="childText1" refType="h" fact="0.4763"/>
                  <dgm:constr type="l" for="ch" forName="childText2" refType="w" fact="0.1848"/>
                  <dgm:constr type="t" for="ch" forName="childText2" refType="h" fact="0.2862"/>
                  <dgm:constr type="w" for="ch" forName="childText2" refType="w" fact="0.18482"/>
                  <dgm:constr type="h" for="ch" forName="childText2" refType="h" fact="0.4763"/>
                  <dgm:constr type="l" for="ch" forName="childText3" refType="w" fact="0.3696"/>
                  <dgm:constr type="t" for="ch" forName="childText3" refType="h" fact="0.3727"/>
                  <dgm:constr type="w" for="ch" forName="childText3" refType="w" fact="0.18482"/>
                  <dgm:constr type="h" for="ch" forName="childText3" refType="h" fact="0.4763"/>
                  <dgm:constr type="l" for="ch" forName="childText4" refType="w" fact="0.5545"/>
                  <dgm:constr type="t" for="ch" forName="childText4" refType="h" fact="0.4592"/>
                  <dgm:constr type="w" for="ch" forName="childText4" refType="w" fact="0.18482"/>
                  <dgm:constr type="h" for="ch" forName="childText4" refType="h" fact="0.4763"/>
                  <dgm:constr type="l" for="ch" forName="childText5" refType="w" fact="0.7393"/>
                  <dgm:constr type="t" for="ch" forName="childText5" refType="h" fact="0.5457"/>
                  <dgm:constr type="w" for="ch" forName="childText5" refType="w" fact="0.18482"/>
                  <dgm:constr type="h" for="ch" forName="childText5" refType="h" fact="0.476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594"/>
                  <dgm:constr type="l" for="ch" forName="parentText2" refType="w" fact="0.1848"/>
                  <dgm:constr type="t" for="ch" forName="parentText2" refType="h" fact="0.0865"/>
                  <dgm:constr type="w" for="ch" forName="parentText2" refType="w" fact="0.8152"/>
                  <dgm:constr type="h" for="ch" forName="parentText2" refType="h" fact="0.2594"/>
                  <dgm:constr type="l" for="ch" forName="parentText3" refType="w" fact="0.3696"/>
                  <dgm:constr type="t" for="ch" forName="parentText3" refType="h" fact="0.173"/>
                  <dgm:constr type="w" for="ch" forName="parentText3" refType="w" fact="0.6304"/>
                  <dgm:constr type="h" for="ch" forName="parentText3" refType="h" fact="0.2594"/>
                  <dgm:constr type="l" for="ch" forName="parentText4" refType="w" fact="0.5545"/>
                  <dgm:constr type="t" for="ch" forName="parentText4" refType="h" fact="0.2595"/>
                  <dgm:constr type="w" for="ch" forName="parentText4" refType="w" fact="0.4455"/>
                  <dgm:constr type="h" for="ch" forName="parentText4" refType="h" fact="0.2594"/>
                  <dgm:constr type="l" for="ch" forName="parentText5" refType="w" fact="0.7393"/>
                  <dgm:constr type="t" for="ch" forName="parentText5" refType="h" fact="0.346"/>
                  <dgm:constr type="w" for="ch" forName="parentText5" refType="w" fact="0.2607"/>
                  <dgm:constr type="h" for="ch" forName="parentText5" refType="h" fact="0.2594"/>
                </dgm:constrLst>
              </dgm:if>
              <dgm:else name="Name5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5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5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5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childText5" refType="primFontSz" refFor="des" refForName="parentText4" op="lte"/>
                  <dgm:constr type="primFontSz" for="des" forName="childText1" refType="primFontSz" refFor="des" refForName="parentText5" op="lte"/>
                  <dgm:constr type="primFontSz" for="des" forName="childText2" refType="primFontSz" refFor="des" refForName="parentText5" op="lte"/>
                  <dgm:constr type="primFontSz" for="des" forName="childText3" refType="primFontSz" refFor="des" refForName="parentText5" op="lte"/>
                  <dgm:constr type="primFontSz" for="des" forName="childText4" refType="primFontSz" refFor="des" refForName="parentText5" op="lte"/>
                  <dgm:constr type="primFontSz" for="des" forName="childText5" refType="primFontSz" refFor="des" refForName="parentText5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primFontSz" for="des" forName="childText5" refType="primFontSz" refFor="des" refForName="childText1" op="equ"/>
                  <dgm:constr type="l" for="ch" forName="childText1" refType="w" fact="0.81518"/>
                  <dgm:constr type="t" for="ch" forName="childText1" refType="h" fact="0.1997"/>
                  <dgm:constr type="w" for="ch" forName="childText1" refType="w" fact="0.18482"/>
                  <dgm:constr type="h" for="ch" forName="childText1" refType="h" fact="0.4763"/>
                  <dgm:constr type="l" for="ch" forName="childText2" refType="w" fact="0.63036"/>
                  <dgm:constr type="t" for="ch" forName="childText2" refType="h" fact="0.2862"/>
                  <dgm:constr type="w" for="ch" forName="childText2" refType="w" fact="0.18482"/>
                  <dgm:constr type="h" for="ch" forName="childText2" refType="h" fact="0.4763"/>
                  <dgm:constr type="l" for="ch" forName="childText3" refType="w" fact="0.44554"/>
                  <dgm:constr type="t" for="ch" forName="childText3" refType="h" fact="0.3727"/>
                  <dgm:constr type="w" for="ch" forName="childText3" refType="w" fact="0.18482"/>
                  <dgm:constr type="h" for="ch" forName="childText3" refType="h" fact="0.4763"/>
                  <dgm:constr type="l" for="ch" forName="childText4" refType="w" fact="0.26072"/>
                  <dgm:constr type="t" for="ch" forName="childText4" refType="h" fact="0.4592"/>
                  <dgm:constr type="w" for="ch" forName="childText4" refType="w" fact="0.18482"/>
                  <dgm:constr type="h" for="ch" forName="childText4" refType="h" fact="0.4763"/>
                  <dgm:constr type="l" for="ch" forName="childText5" refType="w" fact="0.0759"/>
                  <dgm:constr type="t" for="ch" forName="childText5" refType="h" fact="0.5457"/>
                  <dgm:constr type="w" for="ch" forName="childText5" refType="w" fact="0.18482"/>
                  <dgm:constr type="h" for="ch" forName="childText5" refType="h" fact="0.476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594"/>
                  <dgm:constr type="l" for="ch" forName="parentText2" refType="w" fact="0"/>
                  <dgm:constr type="t" for="ch" forName="parentText2" refType="h" fact="0.0865"/>
                  <dgm:constr type="w" for="ch" forName="parentText2" refType="w" fact="0.8152"/>
                  <dgm:constr type="h" for="ch" forName="parentText2" refType="h" fact="0.2594"/>
                  <dgm:constr type="l" for="ch" forName="parentText3" refType="w" fact="0"/>
                  <dgm:constr type="t" for="ch" forName="parentText3" refType="h" fact="0.173"/>
                  <dgm:constr type="w" for="ch" forName="parentText3" refType="w" fact="0.6304"/>
                  <dgm:constr type="h" for="ch" forName="parentText3" refType="h" fact="0.2594"/>
                  <dgm:constr type="l" for="ch" forName="parentText4" refType="w" fact="0"/>
                  <dgm:constr type="t" for="ch" forName="parentText4" refType="h" fact="0.2595"/>
                  <dgm:constr type="w" for="ch" forName="parentText4" refType="w" fact="0.4455"/>
                  <dgm:constr type="h" for="ch" forName="parentText4" refType="h" fact="0.2594"/>
                  <dgm:constr type="l" for="ch" forName="parentText5" refType="w" fact="0"/>
                  <dgm:constr type="t" for="ch" forName="parentText5" refType="h" fact="0.346"/>
                  <dgm:constr type="w" for="ch" forName="parentText5" refType="w" fact="0.2607"/>
                  <dgm:constr type="h" for="ch" forName="parentText5" refType="h" fact="0.2594"/>
                </dgm:constrLst>
              </dgm:else>
            </dgm:choose>
          </dgm:else>
        </dgm:choose>
      </dgm:else>
    </dgm:choose>
    <dgm:forEach name="Name52" axis="ch" ptType="node" cnt="1">
      <dgm:layoutNode name="parentText1" styleLbl="node1">
        <dgm:varLst>
          <dgm:chMax/>
          <dgm:chPref val="3"/>
          <dgm:bulletEnabled val="1"/>
        </dgm:varLst>
        <dgm:choose name="Name53">
          <dgm:if name="Name54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55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56">
        <dgm:if name="Name57" axis="ch" ptType="node" func="cnt" op="gte" val="1">
          <dgm:layoutNode name="childText1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58"/>
      </dgm:choose>
    </dgm:forEach>
    <dgm:forEach name="Name59" axis="ch" ptType="node" st="2" cnt="1">
      <dgm:layoutNode name="parentText2" styleLbl="node1">
        <dgm:varLst>
          <dgm:chMax/>
          <dgm:chPref val="3"/>
          <dgm:bulletEnabled val="1"/>
        </dgm:varLst>
        <dgm:choose name="Name60">
          <dgm:if name="Name61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62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63">
        <dgm:if name="Name64" axis="ch" ptType="node" func="cnt" op="gte" val="1">
          <dgm:layoutNode name="childText2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65"/>
      </dgm:choose>
    </dgm:forEach>
    <dgm:forEach name="Name66" axis="ch" ptType="node" st="3" cnt="1">
      <dgm:layoutNode name="parentText3" styleLbl="node1">
        <dgm:varLst>
          <dgm:chMax/>
          <dgm:chPref val="3"/>
          <dgm:bulletEnabled val="1"/>
        </dgm:varLst>
        <dgm:choose name="Name67">
          <dgm:if name="Name68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69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70">
        <dgm:if name="Name71" axis="ch" ptType="node" func="cnt" op="gte" val="1">
          <dgm:layoutNode name="childText3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72"/>
      </dgm:choose>
    </dgm:forEach>
    <dgm:forEach name="Name73" axis="ch" ptType="node" st="4" cnt="1">
      <dgm:layoutNode name="parentText4" styleLbl="node1">
        <dgm:varLst>
          <dgm:chMax/>
          <dgm:chPref val="3"/>
          <dgm:bulletEnabled val="1"/>
        </dgm:varLst>
        <dgm:choose name="Name74">
          <dgm:if name="Name75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76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77">
        <dgm:if name="Name78" axis="ch" ptType="node" func="cnt" op="gte" val="1">
          <dgm:layoutNode name="childText4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79"/>
      </dgm:choose>
    </dgm:forEach>
    <dgm:forEach name="Name80" axis="ch" ptType="node" st="5" cnt="1">
      <dgm:layoutNode name="parentText5" styleLbl="node1">
        <dgm:varLst>
          <dgm:chMax/>
          <dgm:chPref val="3"/>
          <dgm:bulletEnabled val="1"/>
        </dgm:varLst>
        <dgm:choose name="Name81">
          <dgm:if name="Name82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83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84">
        <dgm:if name="Name85" axis="ch" ptType="node" func="cnt" op="gte" val="1">
          <dgm:layoutNode name="childText5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86"/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ierarchy6">
  <dgm:title val=""/>
  <dgm:desc val=""/>
  <dgm:catLst>
    <dgm:cat type="hierarchy" pri="3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5">
          <dgm:prSet phldr="1"/>
        </dgm:pt>
        <dgm:pt modelId="6">
          <dgm:prSet phldr="1"/>
        </dgm:pt>
      </dgm:ptLst>
      <dgm:cxnLst>
        <dgm:cxn modelId="7" srcId="0" destId="1" srcOrd="0" destOrd="0"/>
        <dgm:cxn modelId="8" srcId="1" destId="2" srcOrd="0" destOrd="0"/>
        <dgm:cxn modelId="9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10" srcId="0" destId="4" srcOrd="1" destOrd="0"/>
        <dgm:cxn modelId="11" srcId="0" destId="5" srcOrd="2" destOrd="0"/>
        <dgm:cxn modelId="12" srcId="0" destId="6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3"/>
      </dgm:ptLst>
      <dgm:cxnLst>
        <dgm:cxn modelId="4" srcId="0" destId="1" srcOrd="0" destOrd="0"/>
        <dgm:cxn modelId="13" srcId="1" destId="11" srcOrd="0" destOrd="0"/>
        <dgm:cxn modelId="14" srcId="1" destId="12" srcOrd="1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  <dgm:pt modelId="4"/>
        <dgm:pt modelId="5"/>
        <dgm:pt modelId="6"/>
        <dgm:pt modelId="7"/>
      </dgm:ptLst>
      <dgm:cxnLst>
        <dgm:cxn modelId="8" srcId="0" destId="1" srcOrd="0" destOrd="0"/>
        <dgm:cxn modelId="9" srcId="1" destId="2" srcOrd="0" destOrd="0"/>
        <dgm:cxn modelId="10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  <dgm:cxn modelId="11" srcId="0" destId="4" srcOrd="1" destOrd="0"/>
        <dgm:cxn modelId="12" srcId="0" destId="5" srcOrd="2" destOrd="0"/>
        <dgm:cxn modelId="13" srcId="0" destId="6" srcOrd="3" destOrd="0"/>
        <dgm:cxn modelId="14" srcId="0" destId="7" srcOrd="4" destOrd="0"/>
      </dgm:cxnLst>
      <dgm:bg/>
      <dgm:whole/>
    </dgm:dataModel>
  </dgm:clrData>
  <dgm:layoutNode name="mainComposite">
    <dgm:varLst>
      <dgm:chPref val="1"/>
      <dgm:dir/>
      <dgm:animOne val="branch"/>
      <dgm:animLvl val="lvl"/>
      <dgm:resizeHandles val="exact"/>
    </dgm:varLst>
    <dgm:alg type="composite">
      <dgm:param type="vertAlign" val="mid"/>
      <dgm:param type="horzAlign" val="ctr"/>
    </dgm:alg>
    <dgm:shape xmlns:r="http://schemas.openxmlformats.org/officeDocument/2006/relationships" r:blip="">
      <dgm:adjLst/>
    </dgm:shape>
    <dgm:presOf/>
    <dgm:choose name="Name0">
      <dgm:if name="Name1" axis="ch" ptType="node" func="cnt" op="gte" val="2">
        <dgm:choose name="Name2">
          <dgm:if name="Name3" func="var" arg="dir" op="equ" val="norm">
            <dgm:constrLst>
              <dgm:constr type="l" for="ch" forName="hierFlow" refType="w" fact="0.3"/>
              <dgm:constr type="t" for="ch" forName="hierFlow"/>
              <dgm:constr type="r" for="ch" forName="hierFlow" refType="w" fact="0.98"/>
              <dgm:constr type="b" for="ch" forName="hierFlow" refType="h" fact="0.98"/>
              <dgm:constr type="l" for="ch" forName="bgShapesFlow"/>
              <dgm:constr type="t" for="ch" forName="bgShapesFlow"/>
              <dgm:constr type="r" for="ch" forName="bgShapesFlow" refType="w"/>
              <dgm:constr type="b" for="ch" forName="bgShapesFlow" refType="h"/>
              <dgm:constr type="w" for="des" forName="level1Shape" refType="w"/>
              <dgm:constr type="h" for="des" forName="level1Shape" refType="w" refFor="des" refForName="level1Shape" fact="0.66667"/>
              <dgm:constr type="w" for="des" forName="level2Shape" refType="w" refFor="des" refForName="level1Shape" op="equ"/>
              <dgm:constr type="h" for="des" forName="level2Shape" refType="h" refFor="des" refForName="level1Shape" op="equ"/>
              <dgm:constr type="sp" for="des" refType="h" refFor="des" refForName="level1Shape" op="equ" fact="0.4"/>
              <dgm:constr type="sibSp" for="des" forName="hierChild1" refType="w" refFor="des" refForName="level1Shape" op="equ" fact="0.3"/>
              <dgm:constr type="sibSp" for="des" forName="hierChild2" refType="sibSp" refFor="des" refForName="hierChild1" op="equ"/>
              <dgm:constr type="sibSp" for="des" forName="hierChild3" refType="sibSp" refFor="des" refForName="hierChild1" op="equ"/>
              <dgm:constr type="userA" for="des" refType="h" refFor="des" refForName="level1Shape" op="equ"/>
              <dgm:constr type="userB" for="des" refType="sp" refFor="des" op="equ"/>
              <dgm:constr type="h" for="des" forName="firstBuf" refType="h" refFor="des" refForName="level1Shape" fact="0.1"/>
            </dgm:constrLst>
          </dgm:if>
          <dgm:else name="Name4">
            <dgm:constrLst>
              <dgm:constr type="l" for="ch" forName="hierFlow" refType="w" fact="0.02"/>
              <dgm:constr type="t" for="ch" forName="hierFlow"/>
              <dgm:constr type="r" for="ch" forName="hierFlow" refType="w" fact="0.7"/>
              <dgm:constr type="b" for="ch" forName="hierFlow" refType="h" fact="0.98"/>
              <dgm:constr type="l" for="ch" forName="bgShapesFlow"/>
              <dgm:constr type="t" for="ch" forName="bgShapesFlow"/>
              <dgm:constr type="r" for="ch" forName="bgShapesFlow" refType="w"/>
              <dgm:constr type="b" for="ch" forName="bgShapesFlow" refType="h"/>
              <dgm:constr type="w" for="des" forName="level1Shape" refType="w"/>
              <dgm:constr type="h" for="des" forName="level1Shape" refType="w" refFor="des" refForName="level1Shape" fact="0.66667"/>
              <dgm:constr type="w" for="des" forName="level2Shape" refType="w" refFor="des" refForName="level1Shape" op="equ"/>
              <dgm:constr type="h" for="des" forName="level2Shape" refType="h" refFor="des" refForName="level1Shape" op="equ"/>
              <dgm:constr type="sp" for="des" refType="h" refFor="des" refForName="level1Shape" op="equ" fact="0.4"/>
              <dgm:constr type="sibSp" for="des" forName="hierChild1" refType="w" refFor="des" refForName="level1Shape" op="equ" fact="0.3"/>
              <dgm:constr type="sibSp" for="des" forName="hierChild2" refType="sibSp" refFor="des" refForName="hierChild1" op="equ"/>
              <dgm:constr type="sibSp" for="des" forName="hierChild3" refType="sibSp" refFor="des" refForName="hierChild1" op="equ"/>
              <dgm:constr type="userA" for="des" refType="h" refFor="des" refForName="level1Shape" op="equ"/>
              <dgm:constr type="userB" for="des" refType="sp" refFor="des" op="equ"/>
              <dgm:constr type="h" for="des" forName="firstBuf" refType="h" refFor="des" refForName="level1Shape" fact="0.1"/>
            </dgm:constrLst>
          </dgm:else>
        </dgm:choose>
      </dgm:if>
      <dgm:else name="Name5">
        <dgm:constrLst>
          <dgm:constr type="l" for="ch" forName="hierFlow"/>
          <dgm:constr type="t" for="ch" forName="hierFlow"/>
          <dgm:constr type="r" for="ch" forName="hierFlow" refType="w"/>
          <dgm:constr type="b" for="ch" forName="hierFlow" refType="h"/>
          <dgm:constr type="l" for="ch" forName="bgShapesFlow"/>
          <dgm:constr type="t" for="ch" forName="bgShapesFlow"/>
          <dgm:constr type="r" for="ch" forName="bgShapesFlow" refType="w"/>
          <dgm:constr type="b" for="ch" forName="bgShapesFlow" refType="h"/>
          <dgm:constr type="w" for="des" forName="level1Shape" refType="w"/>
          <dgm:constr type="h" for="des" forName="level1Shape" refType="w" refFor="des" refForName="level1Shape" fact="0.66667"/>
          <dgm:constr type="w" for="des" forName="level2Shape" refType="w" refFor="des" refForName="level1Shape" op="equ"/>
          <dgm:constr type="h" for="des" forName="level2Shape" refType="h" refFor="des" refForName="level1Shape" op="equ"/>
          <dgm:constr type="sp" for="des" refType="h" refFor="des" refForName="level1Shape" op="equ" fact="0.4"/>
          <dgm:constr type="sibSp" for="des" forName="hierChild1" refType="w" refFor="des" refForName="level1Shape" op="equ" fact="0.3"/>
          <dgm:constr type="sibSp" for="des" forName="hierChild2" refType="sibSp" refFor="des" refForName="hierChild1" op="equ"/>
          <dgm:constr type="sibSp" for="des" forName="hierChild3" refType="sibSp" refFor="des" refForName="hierChild1" op="equ"/>
          <dgm:constr type="userA" for="des" refType="h" refFor="des" refForName="level1Shape" op="equ"/>
          <dgm:constr type="userB" for="des" refType="sp" refFor="des" op="equ"/>
          <dgm:constr type="h" for="des" forName="firstBuf" refType="h" refFor="des" refForName="level1Shape" fact="0.1"/>
        </dgm:constrLst>
      </dgm:else>
    </dgm:choose>
    <dgm:ruleLst/>
    <dgm:layoutNode name="hierFlow">
      <dgm:alg type="lin">
        <dgm:param type="linDir" val="fromT"/>
        <dgm:param type="nodeVertAlign" val="t"/>
        <dgm:param type="vertAlign" val="t"/>
        <dgm:param type="nodeHorzAlign" val="ctr"/>
        <dgm:param type="fallback" val="2D"/>
      </dgm:alg>
      <dgm:shape xmlns:r="http://schemas.openxmlformats.org/officeDocument/2006/relationships" r:blip="">
        <dgm:adjLst/>
      </dgm:shape>
      <dgm:presOf/>
      <dgm:constrLst/>
      <dgm:ruleLst/>
      <dgm:choose name="Name6">
        <dgm:if name="Name7" axis="ch" ptType="node" func="cnt" op="gte" val="2">
          <dgm:layoutNode name="firstBuf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8"/>
      </dgm:choose>
      <dgm:layoutNode name="hierChild1">
        <dgm:varLst>
          <dgm:chPref val="1"/>
          <dgm:animOne val="branch"/>
          <dgm:animLvl val="lvl"/>
        </dgm:varLst>
        <dgm:choose name="Name9">
          <dgm:if name="Name10" func="var" arg="dir" op="equ" val="norm">
            <dgm:alg type="hierChild">
              <dgm:param type="linDir" val="fromL"/>
              <dgm:param type="vertAlign" val="t"/>
            </dgm:alg>
          </dgm:if>
          <dgm:else name="Name11">
            <dgm:alg type="hierChild">
              <dgm:param type="linDir" val="fromR"/>
              <dgm:param type="vertAlign" val="t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primFontSz" for="des" ptType="node" op="equ"/>
        </dgm:constrLst>
        <dgm:ruleLst/>
        <dgm:forEach name="Name12" axis="ch" cnt="3">
          <dgm:forEach name="Name13" axis="self" ptType="node">
            <dgm:layoutNode name="Name14">
              <dgm:alg type="hierRoot"/>
              <dgm:shape xmlns:r="http://schemas.openxmlformats.org/officeDocument/2006/relationships" r:blip="">
                <dgm:adjLst/>
              </dgm:shape>
              <dgm:presOf/>
              <dgm:constrLst/>
              <dgm:ruleLst/>
              <dgm:layoutNode name="level1Shape" styleLbl="node0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primFontSz" val="65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hierChild2">
                <dgm:choose name="Name15">
                  <dgm:if name="Name16" func="var" arg="dir" op="equ" val="norm">
                    <dgm:alg type="hierChild">
                      <dgm:param type="linDir" val="fromL"/>
                    </dgm:alg>
                  </dgm:if>
                  <dgm:else name="Name17">
                    <dgm:alg type="hierChild">
                      <dgm:param type="linDir" val="from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  <dgm:forEach name="repeat" axis="ch">
                  <dgm:forEach name="Name18" axis="self" ptType="parTrans" cnt="1">
                    <dgm:layoutNode name="Name19">
                      <dgm:alg type="conn">
                        <dgm:param type="dim" val="1D"/>
                        <dgm:param type="endSty" val="noArr"/>
                        <dgm:param type="connRout" val="bend"/>
                        <dgm:param type="begPts" val="bCtr"/>
                        <dgm:param type="endPts" val="tCtr"/>
                      </dgm:alg>
                      <dgm:shape xmlns:r="http://schemas.openxmlformats.org/officeDocument/2006/relationships" type="conn" r:blip="">
                        <dgm:adjLst/>
                      </dgm:shape>
                      <dgm:presOf axis="self"/>
                      <dgm:constrLst>
                        <dgm:constr type="w" val="1"/>
                        <dgm:constr type="h" val="1"/>
                        <dgm:constr type="begPad"/>
                        <dgm:constr type="endPad"/>
                      </dgm:constrLst>
                      <dgm:ruleLst/>
                    </dgm:layoutNode>
                  </dgm:forEach>
                  <dgm:forEach name="Name20" axis="self" ptType="node">
                    <dgm:layoutNode name="Name21">
                      <dgm:alg type="hierRoot"/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/>
                      <dgm:layoutNode name="level2Shape">
                        <dgm:alg type="tx"/>
                        <dgm:shape xmlns:r="http://schemas.openxmlformats.org/officeDocument/2006/relationships" type="roundRect" r:blip="">
                          <dgm:adjLst>
                            <dgm:adj idx="1" val="0.1"/>
                          </dgm:adjLst>
                        </dgm:shape>
                        <dgm:presOf axis="self"/>
                        <dgm:constrLst>
                          <dgm:constr type="primFontSz" val="65"/>
                          <dgm:constr type="tMarg" refType="primFontSz" fact="0.3"/>
                          <dgm:constr type="bMarg" refType="primFontSz" fact="0.3"/>
                          <dgm:constr type="lMarg" refType="primFontSz" fact="0.3"/>
                          <dgm:constr type="r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hierChild3">
                        <dgm:choose name="Name22">
                          <dgm:if name="Name23" func="var" arg="dir" op="equ" val="norm">
                            <dgm:alg type="hierChild">
                              <dgm:param type="linDir" val="fromL"/>
                            </dgm:alg>
                          </dgm:if>
                          <dgm:else name="Name24">
                            <dgm:alg type="hierChild">
                              <dgm:param type="linDir" val="fromR"/>
                            </dgm:alg>
                          </dgm:else>
                        </dgm:choose>
                        <dgm:shape xmlns:r="http://schemas.openxmlformats.org/officeDocument/2006/relationships" r:blip="">
                          <dgm:adjLst/>
                        </dgm:shape>
                        <dgm:presOf/>
                        <dgm:constrLst/>
                        <dgm:ruleLst/>
                        <dgm:forEach name="Name25" ref="repeat"/>
                      </dgm:layoutNode>
                    </dgm:layoutNode>
                  </dgm:forEach>
                </dgm:forEach>
              </dgm:layoutNode>
            </dgm:layoutNode>
          </dgm:forEach>
        </dgm:forEach>
      </dgm:layoutNode>
    </dgm:layoutNode>
    <dgm:layoutNode name="bgShapesFlow">
      <dgm:alg type="lin">
        <dgm:param type="linDir" val="fromT"/>
        <dgm:param type="nodeVertAlign" val="t"/>
        <dgm:param type="vertAlign" val="t"/>
        <dgm:param type="nodeHorzAlign" val="ctr"/>
      </dgm:alg>
      <dgm:shape xmlns:r="http://schemas.openxmlformats.org/officeDocument/2006/relationships" r:blip="">
        <dgm:adjLst/>
      </dgm:shape>
      <dgm:presOf/>
      <dgm:constrLst>
        <dgm:constr type="userB"/>
        <dgm:constr type="w" for="ch" forName="rectComp" refType="w"/>
        <dgm:constr type="h" for="ch" forName="rectComp" refType="h"/>
        <dgm:constr type="w" for="des" forName="bgRect" refType="w"/>
        <dgm:constr type="primFontSz" for="des" forName="bgRectTx" op="equ"/>
      </dgm:constrLst>
      <dgm:ruleLst/>
      <dgm:forEach name="Name26" axis="ch" ptType="node" st="2">
        <dgm:layoutNode name="rectComp">
          <dgm:alg type="composite">
            <dgm:param type="vertAlign" val="t"/>
            <dgm:param type="horzAlign" val="ctr"/>
          </dgm:alg>
          <dgm:shape xmlns:r="http://schemas.openxmlformats.org/officeDocument/2006/relationships" r:blip="">
            <dgm:adjLst/>
          </dgm:shape>
          <dgm:presOf/>
          <dgm:choose name="Name27">
            <dgm:if name="Name28" func="var" arg="dir" op="equ" val="norm">
              <dgm:constrLst>
                <dgm:constr type="userA"/>
                <dgm:constr type="l" for="ch" forName="bgRect"/>
                <dgm:constr type="t" for="ch" forName="bgRect"/>
                <dgm:constr type="h" for="ch" forName="bgRect" refType="userA" fact="1.2"/>
                <dgm:constr type="l" for="ch" forName="bgRectTx"/>
                <dgm:constr type="t" for="ch" forName="bgRectTx"/>
                <dgm:constr type="w" for="ch" forName="bgRectTx" refType="w" refFor="ch" refForName="bgRect" fact="0.3"/>
                <dgm:constr type="h" for="ch" forName="bgRectTx" refType="h" refFor="ch" refForName="bgRect" op="equ"/>
              </dgm:constrLst>
            </dgm:if>
            <dgm:else name="Name29">
              <dgm:constrLst>
                <dgm:constr type="userA"/>
                <dgm:constr type="l" for="ch" forName="bgRect"/>
                <dgm:constr type="t" for="ch" forName="bgRect"/>
                <dgm:constr type="h" for="ch" forName="bgRect" refType="userA" fact="1.2"/>
                <dgm:constr type="r" for="ch" forName="bgRectTx" refType="w"/>
                <dgm:constr type="t" for="ch" forName="bgRectTx"/>
                <dgm:constr type="w" for="ch" forName="bgRectTx" refType="w" refFor="ch" refForName="bgRect" fact="0.3"/>
                <dgm:constr type="h" for="ch" forName="bgRectTx" refType="h" refFor="ch" refForName="bgRect" op="equ"/>
              </dgm:constrLst>
            </dgm:else>
          </dgm:choose>
          <dgm:ruleLst/>
          <dgm:layoutNode name="bgRect" styleLbl="bgShp">
            <dgm:alg type="sp"/>
            <dgm:shape xmlns:r="http://schemas.openxmlformats.org/officeDocument/2006/relationships" type="roundRect" r:blip="" zOrderOff="-999">
              <dgm:adjLst>
                <dgm:adj idx="1" val="0.1"/>
              </dgm:adjLst>
            </dgm:shape>
            <dgm:presOf axis="desOrSelf" ptType="node"/>
            <dgm:constrLst/>
            <dgm:ruleLst/>
          </dgm:layoutNode>
          <dgm:layoutNode name="bgRectTx" styleLbl="bgShp">
            <dgm:varLst>
              <dgm:bulletEnabled val="1"/>
            </dgm:varLst>
            <dgm:alg type="tx"/>
            <dgm:presOf axis="desOrSelf" ptType="node"/>
            <dgm:shape xmlns:r="http://schemas.openxmlformats.org/officeDocument/2006/relationships" type="rect" r:blip="" zOrderOff="-999" hideGeom="1">
              <dgm:adjLst/>
            </dgm:shape>
            <dgm:constrLst>
              <dgm:constr type="primFontSz" val="65"/>
            </dgm:constrLst>
            <dgm:ruleLst>
              <dgm:rule type="primFontSz" val="5" fact="NaN" max="NaN"/>
            </dgm:ruleLst>
          </dgm:layoutNode>
        </dgm:layoutNode>
        <dgm:choose name="Name30">
          <dgm:if name="Name31" axis="self" ptType="node" func="revPos" op="gte" val="2">
            <dgm:layoutNode name="spComp">
              <dgm:alg type="composite">
                <dgm:param type="vertAlign" val="t"/>
                <dgm:param type="horzAlign" val="ctr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userA"/>
                <dgm:constr type="userB"/>
                <dgm:constr type="l" for="ch" forName="vSp"/>
                <dgm:constr type="t" for="ch" forName="vSp"/>
                <dgm:constr type="h" for="ch" forName="vSp" refType="userB"/>
                <dgm:constr type="hOff" for="ch" forName="vSp" refType="userA" fact="-0.2"/>
              </dgm:constrLst>
              <dgm:ruleLst/>
              <dgm:layoutNode name="vSp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if>
          <dgm:else name="Name32"/>
        </dgm:choose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2"/>
          <p:cNvSpPr>
            <a:spLocks noGrp="1"/>
          </p:cNvSpPr>
          <p:nvPr>
            <p:ph type="dt" idx="1"/>
          </p:nvPr>
        </p:nvSpPr>
        <p:spPr>
          <a:xfrm>
            <a:off x="464193" y="9478653"/>
            <a:ext cx="104321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algn="l">
              <a:defRPr sz="1200"/>
            </a:lvl1pPr>
          </a:lstStyle>
          <a:p>
            <a:fld id="{B5504423-A9B5-43D4-87B5-5F065BC80491}" type="datetime1">
              <a:rPr lang="en-GB" smtClean="0">
                <a:ea typeface="Open Sans" panose="020B0606030504020204" pitchFamily="34" charset="0"/>
                <a:cs typeface="Open Sans" panose="020B0606030504020204" pitchFamily="34" charset="0"/>
              </a:rPr>
              <a:t>24/09/2024</a:t>
            </a:fld>
            <a:endParaRPr lang="en-GB"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3"/>
          </p:nvPr>
        </p:nvSpPr>
        <p:spPr>
          <a:xfrm>
            <a:off x="5438140" y="9494491"/>
            <a:ext cx="878033" cy="18466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200"/>
            </a:lvl1pPr>
          </a:lstStyle>
          <a:p>
            <a:r>
              <a:rPr lang="en-GB">
                <a:ea typeface="Open Sans" panose="020B0606030504020204" pitchFamily="34" charset="0"/>
                <a:cs typeface="Open Sans" panose="020B0606030504020204" pitchFamily="34" charset="0"/>
              </a:rPr>
              <a:t>  </a:t>
            </a:r>
            <a:fld id="{F3DF5D5B-2C92-4195-97B9-89281C423DE7}" type="slidenum">
              <a:rPr lang="en-GB" smtClean="0">
                <a:ea typeface="Open Sans" panose="020B0606030504020204" pitchFamily="34" charset="0"/>
                <a:cs typeface="Open Sans" panose="020B0606030504020204" pitchFamily="34" charset="0"/>
              </a:rPr>
              <a:pPr/>
              <a:t>‹#›</a:t>
            </a:fld>
            <a:endParaRPr lang="en-GB"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64529202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64193" y="9478653"/>
            <a:ext cx="104321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algn="l">
              <a:defRPr sz="1200"/>
            </a:lvl1pPr>
          </a:lstStyle>
          <a:p>
            <a:fld id="{B67723B7-0452-4E04-BE54-BFB994AC8B54}" type="datetime1">
              <a:rPr lang="en-GB" noProof="0" smtClean="0"/>
              <a:t>24/09/2024</a:t>
            </a:fld>
            <a:endParaRPr lang="en-GB" noProof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093788"/>
            <a:ext cx="5956300" cy="33512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64193" y="4630950"/>
            <a:ext cx="5851980" cy="4594173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438140" y="9494491"/>
            <a:ext cx="878033" cy="18466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200"/>
            </a:lvl1pPr>
          </a:lstStyle>
          <a:p>
            <a:r>
              <a:rPr lang="en-GB" noProof="0"/>
              <a:t>  </a:t>
            </a:r>
            <a:fld id="{F3DF5D5B-2C92-4195-97B9-89281C423DE7}" type="slidenum">
              <a:rPr lang="en-GB" noProof="0" smtClean="0"/>
              <a:pPr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569497260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marL="0" algn="l" defTabSz="914400" rtl="0" eaLnBrk="1" latinLnBrk="0" hangingPunct="1">
      <a:spcBef>
        <a:spcPts val="1200"/>
      </a:spcBef>
      <a:defRPr sz="1400" b="1" kern="1200">
        <a:solidFill>
          <a:schemeClr val="tx1"/>
        </a:solidFill>
        <a:latin typeface="+mj-lt"/>
        <a:ea typeface="Open Sans" panose="020B0606030504020204" pitchFamily="34" charset="0"/>
        <a:cs typeface="Open Sans" panose="020B0606030504020204" pitchFamily="34" charset="0"/>
      </a:defRPr>
    </a:lvl1pPr>
    <a:lvl2pPr marL="0" indent="0" algn="l" defTabSz="914400" rtl="0" eaLnBrk="1" latinLnBrk="0" hangingPunct="1">
      <a:spcBef>
        <a:spcPts val="800"/>
      </a:spcBef>
      <a:defRPr sz="1400" kern="1200">
        <a:solidFill>
          <a:schemeClr val="tx1"/>
        </a:solidFill>
        <a:latin typeface="+mn-lt"/>
        <a:ea typeface="Open Sans" panose="020B0606030504020204" pitchFamily="34" charset="0"/>
        <a:cs typeface="Open Sans" panose="020B0606030504020204" pitchFamily="34" charset="0"/>
      </a:defRPr>
    </a:lvl2pPr>
    <a:lvl3pPr marL="180000" indent="-180000" algn="l" defTabSz="914400" rtl="0" eaLnBrk="1" latinLnBrk="0" hangingPunct="1">
      <a:spcBef>
        <a:spcPts val="600"/>
      </a:spcBef>
      <a:buFont typeface="Symbol" panose="05050102010706020507" pitchFamily="18" charset="2"/>
      <a:buChar char=""/>
      <a:defRPr sz="1400" kern="1200">
        <a:solidFill>
          <a:schemeClr val="tx1"/>
        </a:solidFill>
        <a:latin typeface="+mn-lt"/>
        <a:ea typeface="Open Sans" panose="020B0606030504020204" pitchFamily="34" charset="0"/>
        <a:cs typeface="Open Sans" panose="020B0606030504020204" pitchFamily="34" charset="0"/>
      </a:defRPr>
    </a:lvl3pPr>
    <a:lvl4pPr marL="360000" indent="-180000" algn="l" defTabSz="914400" rtl="0" eaLnBrk="1" latinLnBrk="0" hangingPunct="1">
      <a:spcBef>
        <a:spcPts val="300"/>
      </a:spcBef>
      <a:buFont typeface="Symbol" panose="05050102010706020507" pitchFamily="18" charset="2"/>
      <a:buChar char=""/>
      <a:defRPr sz="1400" kern="1200">
        <a:solidFill>
          <a:schemeClr val="tx1"/>
        </a:solidFill>
        <a:latin typeface="+mn-lt"/>
        <a:ea typeface="Open Sans" panose="020B0606030504020204" pitchFamily="34" charset="0"/>
        <a:cs typeface="Open Sans" panose="020B0606030504020204" pitchFamily="34" charset="0"/>
      </a:defRPr>
    </a:lvl4pPr>
    <a:lvl5pPr marL="540000" indent="-180000" algn="l" defTabSz="914400" rtl="0" eaLnBrk="1" latinLnBrk="0" hangingPunct="1">
      <a:spcBef>
        <a:spcPts val="300"/>
      </a:spcBef>
      <a:buFont typeface="Symbol" panose="05050102010706020507" pitchFamily="18" charset="2"/>
      <a:buChar char=""/>
      <a:defRPr sz="1400" kern="1200">
        <a:solidFill>
          <a:schemeClr val="tx1"/>
        </a:solidFill>
        <a:latin typeface="+mn-lt"/>
        <a:ea typeface="Open Sans" panose="020B0606030504020204" pitchFamily="34" charset="0"/>
        <a:cs typeface="Open Sans" panose="020B0606030504020204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2" pos="292" userDrawn="1">
          <p15:clr>
            <a:srgbClr val="F26B43"/>
          </p15:clr>
        </p15:guide>
        <p15:guide id="3" pos="3979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hyperlink" Target="170a9eb3-11d6-1eee-8fff-df727f153490" TargetMode="External"/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Relationship Id="rId5" Type="http://schemas.openxmlformats.org/officeDocument/2006/relationships/hyperlink" Target="https://gasnetcz.sharepoint.com/:x:/r/sites/gn_teams_PowerAutomateStudiumKolafova/Sdilene%20dokumenty/General/Podklady%20-%20excel%20-%20ares%20-%20automaticke%20doplnovani/Ares-podklady.xlsx?d=wfbe3fb2a1e7846009f66ae97f3327c49&amp;csf=1&amp;web=1&amp;e=0tM8az" TargetMode="External"/><Relationship Id="rId4" Type="http://schemas.openxmlformats.org/officeDocument/2006/relationships/hyperlink" Target="https://make.powerautomate.com/environments/Default-4d3392af-c9b5-4356-a1eb-720bd08dcdae/flows/fd104226-26a4-47b3-b0b7-e4cf10a1e1cf/details" TargetMode="Externa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datum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B67723B7-0452-4E04-BE54-BFB994AC8B54}" type="datetime1">
              <a:rPr lang="en-GB" noProof="0" smtClean="0"/>
              <a:t>24/09/2024</a:t>
            </a:fld>
            <a:endParaRPr lang="en-GB" noProof="0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GB" noProof="0"/>
              <a:t>  </a:t>
            </a:r>
            <a:fld id="{F3DF5D5B-2C92-4195-97B9-89281C423DE7}" type="slidenum">
              <a:rPr lang="en-GB" noProof="0" smtClean="0"/>
              <a:pPr/>
              <a:t>3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76935791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sz="1400" dirty="0"/>
              <a:t>Odeslání e-mailu, pokud robot najde objednávky nad 50 tisíc, jejichž dodavatel je povinný zveřejňovat v registru smluv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8C2C35-2B8A-446E-BEC0-FD36716C29AC}" type="slidenum">
              <a:rPr lang="en-DE" smtClean="0"/>
              <a:pPr/>
              <a:t>27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152778117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sz="1400" dirty="0"/>
              <a:t>Odeslání e-mailu, pokud robot najde objednávky nad 50 tisíc, jejichž dodavatel je povinný zveřejňovat v registru smluv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8C2C35-2B8A-446E-BEC0-FD36716C29AC}" type="slidenum">
              <a:rPr lang="en-DE" smtClean="0"/>
              <a:pPr/>
              <a:t>28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382575537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sz="1400" dirty="0"/>
              <a:t>Odeslání e-mailu, pokud robot najde objednávky nad 50 tisíc, jejichž dodavatel je povinný zveřejňovat v registru smluv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8C2C35-2B8A-446E-BEC0-FD36716C29AC}" type="slidenum">
              <a:rPr lang="en-DE" smtClean="0"/>
              <a:pPr/>
              <a:t>30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348513464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sz="1400" dirty="0"/>
              <a:t>Odeslání e-mailu, pokud robot najde objednávky nad 50 tisíc, jejichž dodavatel je povinný zveřejňovat v registru smluv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8C2C35-2B8A-446E-BEC0-FD36716C29AC}" type="slidenum">
              <a:rPr lang="en-DE" smtClean="0"/>
              <a:pPr/>
              <a:t>31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9444787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sz="1400" dirty="0"/>
              <a:t>Odeslání e-mailu, pokud robot najde objednávky nad 50 tisíc, jejichž dodavatel je povinný zveřejňovat v registru smluv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8C2C35-2B8A-446E-BEC0-FD36716C29AC}" type="slidenum">
              <a:rPr lang="en-DE" smtClean="0"/>
              <a:pPr/>
              <a:t>33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16060937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sz="1400" dirty="0"/>
              <a:t>Odeslání e-mailu, pokud robot najde objednávky nad 50 tisíc, jejichž dodavatel je povinný zveřejňovat v registru smluv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8C2C35-2B8A-446E-BEC0-FD36716C29AC}" type="slidenum">
              <a:rPr lang="en-DE" smtClean="0"/>
              <a:pPr/>
              <a:t>34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23012330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sz="1400" dirty="0"/>
              <a:t>Odeslání e-mailu, pokud robot najde objednávky nad 50 tisíc, jejichž dodavatel je povinný zveřejňovat v registru smluv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8C2C35-2B8A-446E-BEC0-FD36716C29AC}" type="slidenum">
              <a:rPr lang="en-DE" smtClean="0"/>
              <a:pPr/>
              <a:t>35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18031209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Ukázka procesu Justice, aby si všichni dokázali představit, jak to běhá samo</a:t>
            </a:r>
          </a:p>
          <a:p>
            <a:r>
              <a:rPr lang="cs-CZ" dirty="0"/>
              <a:t>Buď video, nebo Martina má připraveno Power automate desktop – snad bude fungovat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B67723B7-0452-4E04-BE54-BFB994AC8B54}" type="datetime1">
              <a:rPr lang="en-GB" noProof="0" smtClean="0"/>
              <a:t>24/09/2024</a:t>
            </a:fld>
            <a:endParaRPr lang="en-GB" noProof="0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GB" noProof="0"/>
              <a:t>  </a:t>
            </a:r>
            <a:fld id="{F3DF5D5B-2C92-4195-97B9-89281C423DE7}" type="slidenum">
              <a:rPr lang="en-GB" noProof="0" smtClean="0"/>
              <a:pPr/>
              <a:t>13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31810933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dirty="0"/>
              <a:t>Co lze spustit i přes </a:t>
            </a:r>
            <a:r>
              <a:rPr lang="cs-CZ" dirty="0" err="1"/>
              <a:t>Martininého</a:t>
            </a:r>
            <a:r>
              <a:rPr lang="cs-CZ" dirty="0"/>
              <a:t> agenta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dirty="0"/>
              <a:t>2. Zpracování datových zpráv (</a:t>
            </a:r>
            <a:r>
              <a:rPr lang="cs-CZ" dirty="0" err="1"/>
              <a:t>iRPA</a:t>
            </a:r>
            <a:r>
              <a:rPr lang="cs-CZ" dirty="0"/>
              <a:t>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dirty="0"/>
              <a:t>3. Hromadné vytváření dokumentů v systému SAP (Power Automate Desktop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dirty="0"/>
              <a:t>PROD - Zakladani pravnich dokumentu na testu od Jany, Musí být otevřen PÚ: </a:t>
            </a:r>
            <a:r>
              <a:rPr lang="cs-CZ" sz="1800" u="sng" dirty="0">
                <a:solidFill>
                  <a:srgbClr val="0000FF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hlinkClick r:id="rId3" action="ppaction://hlinkfile"/>
              </a:rPr>
              <a:t>https://my306141.s4hana.ondemand.com/ui#LegalTransaction-manage&amp;/C_LegalTransactionTP(LegalTransactionUUID=guid'170a9eb3-11d6-1eee-8fff-df727f153490',IsActiveEntity=true)/?sap-iapp-state--history=TASSUO2OO109JQG4O7P4XKRDSOSNEXI9ZV4OEX499&amp;sap-iapp-state-C_LegalTransactionTP=AS7TEYG0K3V2QZNBCD5RZE90OUEY1GMMPUOI82N0</a:t>
            </a:r>
            <a:endParaRPr lang="cs-CZ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endParaRPr lang="pl-PL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dirty="0"/>
              <a:t>4. </a:t>
            </a:r>
            <a:r>
              <a:rPr lang="cs-CZ" dirty="0"/>
              <a:t>Hromadná změna dokumentů na přijato v </a:t>
            </a:r>
            <a:r>
              <a:rPr lang="cs-CZ" dirty="0" err="1"/>
              <a:t>SAPu</a:t>
            </a:r>
            <a:r>
              <a:rPr lang="cs-CZ" dirty="0"/>
              <a:t> (</a:t>
            </a:r>
            <a:r>
              <a:rPr lang="cs-CZ" dirty="0" err="1"/>
              <a:t>iRPA</a:t>
            </a:r>
            <a:r>
              <a:rPr lang="cs-CZ" dirty="0"/>
              <a:t>) – lze u Martiny spustit přes Agenta</a:t>
            </a:r>
          </a:p>
          <a:p>
            <a:r>
              <a:rPr lang="cs-CZ" b="0" i="0" dirty="0">
                <a:solidFill>
                  <a:srgbClr val="666666"/>
                </a:solidFill>
                <a:effectLst/>
                <a:latin typeface="72" panose="020B0503030000000003" pitchFamily="34" charset="0"/>
              </a:rPr>
              <a:t>1000022086</a:t>
            </a:r>
          </a:p>
          <a:p>
            <a:r>
              <a:rPr lang="cs-CZ" b="0" i="0" dirty="0">
                <a:solidFill>
                  <a:srgbClr val="666666"/>
                </a:solidFill>
                <a:effectLst/>
                <a:latin typeface="72" panose="020B0503030000000003" pitchFamily="34" charset="0"/>
              </a:rPr>
              <a:t>5. </a:t>
            </a:r>
            <a:r>
              <a:rPr lang="cs-CZ" b="0" i="0" dirty="0" err="1">
                <a:solidFill>
                  <a:srgbClr val="666666"/>
                </a:solidFill>
                <a:effectLst/>
                <a:latin typeface="72" panose="020B0503030000000003" pitchFamily="34" charset="0"/>
              </a:rPr>
              <a:t>Proebiz</a:t>
            </a:r>
            <a:r>
              <a:rPr lang="cs-CZ" b="0" i="0" dirty="0">
                <a:solidFill>
                  <a:srgbClr val="666666"/>
                </a:solidFill>
                <a:effectLst/>
                <a:latin typeface="72" panose="020B0503030000000003" pitchFamily="34" charset="0"/>
              </a:rPr>
              <a:t> stažení dat – lze spustit u Martiny, data se ukládají sem: C:\Temp\Proebiz-data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cs-CZ" b="0" i="0" dirty="0">
                <a:solidFill>
                  <a:srgbClr val="666666"/>
                </a:solidFill>
                <a:effectLst/>
                <a:latin typeface="72" panose="020B0503030000000003" pitchFamily="34" charset="0"/>
              </a:rPr>
              <a:t>7. </a:t>
            </a:r>
            <a:r>
              <a:rPr lang="cs-CZ" sz="1800" dirty="0">
                <a:effectLst/>
                <a:latin typeface="Calibri" panose="020F0502020204030204" pitchFamily="34" charset="0"/>
                <a:hlinkClick r:id="rId4"/>
              </a:rPr>
              <a:t>https://make.powerautomate.com/environments/Default-4d3392af-c9b5-4356-a1eb-720bd08dcdae/flows/fd104226-26a4-47b3-b0b7-e4cf10a1e1cf/details</a:t>
            </a:r>
            <a:r>
              <a:rPr lang="cs-CZ" sz="1800" dirty="0">
                <a:effectLst/>
                <a:latin typeface="Calibri" panose="020F0502020204030204" pitchFamily="34" charset="0"/>
              </a:rPr>
              <a:t> 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cs-CZ" sz="1800" dirty="0">
                <a:effectLst/>
                <a:latin typeface="Calibri" panose="020F0502020204030204" pitchFamily="34" charset="0"/>
                <a:hlinkClick r:id="rId5"/>
              </a:rPr>
              <a:t>https://gasnetcz.sharepoint.com/:x:/r/sites/gn_teams_PowerAutomateStudiumKolafova/Sdilene%20dokumenty/General/Podklady%20-%20excel%20-%20ares%20-%20automaticke%20doplnovani/Ares-podklady.xlsx?d=wfbe3fb2a1e7846009f66ae97f3327c49&amp;csf=1&amp;web=1&amp;e=0tM8az</a:t>
            </a:r>
            <a:endParaRPr lang="cs-CZ" sz="1800" dirty="0">
              <a:effectLst/>
              <a:latin typeface="Calibri" panose="020F0502020204030204" pitchFamily="34" charset="0"/>
            </a:endParaRPr>
          </a:p>
          <a:p>
            <a:endParaRPr lang="cs-CZ" dirty="0"/>
          </a:p>
        </p:txBody>
      </p:sp>
      <p:sp>
        <p:nvSpPr>
          <p:cNvPr id="4" name="Zástupný symbol pro datum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B67723B7-0452-4E04-BE54-BFB994AC8B54}" type="datetime1">
              <a:rPr lang="en-GB" noProof="0" smtClean="0"/>
              <a:t>24/09/2024</a:t>
            </a:fld>
            <a:endParaRPr lang="en-GB" noProof="0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GB" noProof="0"/>
              <a:t>  </a:t>
            </a:r>
            <a:fld id="{F3DF5D5B-2C92-4195-97B9-89281C423DE7}" type="slidenum">
              <a:rPr lang="en-GB" noProof="0" smtClean="0"/>
              <a:pPr/>
              <a:t>14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42565287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sz="1400" dirty="0"/>
              <a:t>Odeslání e-mailu, pokud robot najde objednávky nad 50 tisíc, jejichž dodavatel je povinný zveřejňovat v registru smluv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8C2C35-2B8A-446E-BEC0-FD36716C29AC}" type="slidenum">
              <a:rPr lang="en-DE" smtClean="0"/>
              <a:pPr/>
              <a:t>18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358751523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sz="1400" dirty="0"/>
              <a:t>Odeslání e-mailu, pokud robot najde objednávky nad 50 tisíc, jejichž dodavatel je povinný zveřejňovat v registru smluv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8C2C35-2B8A-446E-BEC0-FD36716C29AC}" type="slidenum">
              <a:rPr lang="en-DE" smtClean="0"/>
              <a:pPr/>
              <a:t>20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119290370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sz="1400" dirty="0"/>
              <a:t>Odeslání e-mailu, pokud robot najde objednávky nad 50 tisíc, jejichž dodavatel je povinný zveřejňovat v registru smluv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8C2C35-2B8A-446E-BEC0-FD36716C29AC}" type="slidenum">
              <a:rPr lang="en-DE" smtClean="0"/>
              <a:pPr/>
              <a:t>21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415479057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sz="1400" dirty="0"/>
              <a:t>Odeslání e-mailu, pokud robot najde objednávky nad 50 tisíc, jejichž dodavatel je povinný zveřejňovat v registru smluv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8C2C35-2B8A-446E-BEC0-FD36716C29AC}" type="slidenum">
              <a:rPr lang="en-DE" smtClean="0"/>
              <a:pPr/>
              <a:t>22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167713510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sz="1400" dirty="0"/>
              <a:t>Odeslání e-mailu, pokud robot najde objednávky nad 50 tisíc, jejichž dodavatel je povinný zveřejňovat v registru smluv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8C2C35-2B8A-446E-BEC0-FD36716C29AC}" type="slidenum">
              <a:rPr lang="en-DE" smtClean="0"/>
              <a:pPr/>
              <a:t>24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416219086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sz="1400" dirty="0"/>
              <a:t>Odeslání e-mailu, pokud robot najde objednávky nad 50 tisíc, jejichž dodavatel je povinný zveřejňovat v registru smluv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8C2C35-2B8A-446E-BEC0-FD36716C29AC}" type="slidenum">
              <a:rPr lang="en-DE" smtClean="0"/>
              <a:pPr/>
              <a:t>25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3799980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ulka 0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1">
            <a:extLst>
              <a:ext uri="{FF2B5EF4-FFF2-40B4-BE49-F238E27FC236}">
                <a16:creationId xmlns:a16="http://schemas.microsoft.com/office/drawing/2014/main" id="{FD88A975-0DD0-4B22-A309-E923D9A122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0592" y="3816000"/>
            <a:ext cx="10511621" cy="1701232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54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cs-CZ"/>
              <a:t>Vložte název prezentace</a:t>
            </a:r>
          </a:p>
        </p:txBody>
      </p:sp>
      <p:sp>
        <p:nvSpPr>
          <p:cNvPr id="5" name="TextovéPole 4">
            <a:extLst>
              <a:ext uri="{FF2B5EF4-FFF2-40B4-BE49-F238E27FC236}">
                <a16:creationId xmlns:a16="http://schemas.microsoft.com/office/drawing/2014/main" id="{D88E681C-FAAD-46B5-B6A7-DC08D85B3FD9}"/>
              </a:ext>
            </a:extLst>
          </p:cNvPr>
          <p:cNvSpPr txBox="1"/>
          <p:nvPr userDrawn="1"/>
        </p:nvSpPr>
        <p:spPr>
          <a:xfrm>
            <a:off x="839416" y="5899206"/>
            <a:ext cx="6097604" cy="18466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cs-CZ" sz="1200" b="1">
                <a:solidFill>
                  <a:schemeClr val="bg1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gasnet.cz | 555 90 10 10</a:t>
            </a:r>
            <a:endParaRPr lang="cs-CZ" sz="1200" b="1" dirty="0">
              <a:solidFill>
                <a:schemeClr val="bg1"/>
              </a:solidFill>
              <a:latin typeface="Segoe UI Semibold" panose="020B0502040204020203" pitchFamily="34" charset="0"/>
              <a:cs typeface="Segoe UI Semibold" panose="020B0502040204020203" pitchFamily="34" charset="0"/>
            </a:endParaRPr>
          </a:p>
        </p:txBody>
      </p:sp>
      <p:sp>
        <p:nvSpPr>
          <p:cNvPr id="10" name="Zástupný symbol pro zápatí 1">
            <a:extLst>
              <a:ext uri="{FF2B5EF4-FFF2-40B4-BE49-F238E27FC236}">
                <a16:creationId xmlns:a16="http://schemas.microsoft.com/office/drawing/2014/main" id="{09BFCFE6-FCC8-47EA-A938-4316B84D0D9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92144" y="720000"/>
            <a:ext cx="3960000" cy="32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endParaRPr lang="cs-CZ" dirty="0">
              <a:solidFill>
                <a:schemeClr val="bg1"/>
              </a:solidFill>
              <a:cs typeface="Segoe UI Light" panose="020B0502040204020203" pitchFamily="34" charset="0"/>
            </a:endParaRPr>
          </a:p>
        </p:txBody>
      </p:sp>
      <p:sp>
        <p:nvSpPr>
          <p:cNvPr id="13" name="Zástupný text 3">
            <a:extLst>
              <a:ext uri="{FF2B5EF4-FFF2-40B4-BE49-F238E27FC236}">
                <a16:creationId xmlns:a16="http://schemas.microsoft.com/office/drawing/2014/main" id="{D917BDA2-571D-4E49-BB28-AEE2805555A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40592" y="3204000"/>
            <a:ext cx="10511621" cy="4680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800" u="sng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179388" indent="0">
              <a:buNone/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cs-CZ"/>
              <a:t>Vložte doplňkový nadpis</a:t>
            </a:r>
          </a:p>
        </p:txBody>
      </p:sp>
      <p:pic>
        <p:nvPicPr>
          <p:cNvPr id="4" name="Obrázek 3">
            <a:extLst>
              <a:ext uri="{FF2B5EF4-FFF2-40B4-BE49-F238E27FC236}">
                <a16:creationId xmlns:a16="http://schemas.microsoft.com/office/drawing/2014/main" id="{EE30D207-74C3-47B2-8092-2EB8E9AC901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40394" y="836712"/>
            <a:ext cx="1520497" cy="12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542066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ozložení 0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délník 1">
            <a:extLst>
              <a:ext uri="{FF2B5EF4-FFF2-40B4-BE49-F238E27FC236}">
                <a16:creationId xmlns:a16="http://schemas.microsoft.com/office/drawing/2014/main" id="{1B93E936-06F7-4ACF-BA3B-1B908FB0ED86}"/>
              </a:ext>
            </a:extLst>
          </p:cNvPr>
          <p:cNvSpPr/>
          <p:nvPr userDrawn="1"/>
        </p:nvSpPr>
        <p:spPr bwMode="gray">
          <a:xfrm>
            <a:off x="407988" y="413490"/>
            <a:ext cx="11376024" cy="6039698"/>
          </a:xfrm>
          <a:prstGeom prst="rect">
            <a:avLst/>
          </a:prstGeom>
          <a:solidFill>
            <a:schemeClr val="accent4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ctr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cs-CZ" sz="1400" dirty="0">
              <a:solidFill>
                <a:schemeClr val="bg1"/>
              </a:solidFill>
            </a:endParaRPr>
          </a:p>
        </p:txBody>
      </p:sp>
      <p:sp>
        <p:nvSpPr>
          <p:cNvPr id="5" name="Zástupný text 20">
            <a:extLst>
              <a:ext uri="{FF2B5EF4-FFF2-40B4-BE49-F238E27FC236}">
                <a16:creationId xmlns:a16="http://schemas.microsoft.com/office/drawing/2014/main" id="{F6C0F4D3-5EDB-419E-A8E6-1B447BF3FC6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9416" y="764768"/>
            <a:ext cx="10512797" cy="576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cs-CZ"/>
              <a:t>Titulek SemiBold 36</a:t>
            </a:r>
          </a:p>
        </p:txBody>
      </p:sp>
      <p:sp>
        <p:nvSpPr>
          <p:cNvPr id="7" name="Zástupný text 3">
            <a:extLst>
              <a:ext uri="{FF2B5EF4-FFF2-40B4-BE49-F238E27FC236}">
                <a16:creationId xmlns:a16="http://schemas.microsoft.com/office/drawing/2014/main" id="{7995F1F8-0381-4379-8459-DA94E6060E2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43897" y="1692046"/>
            <a:ext cx="4820303" cy="36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800" u="sng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cs-CZ"/>
              <a:t>Doplňkový titulek Regular 18 Underlined</a:t>
            </a:r>
          </a:p>
        </p:txBody>
      </p:sp>
      <p:sp>
        <p:nvSpPr>
          <p:cNvPr id="16" name="Zástupný symbol pro číslo snímku 2">
            <a:extLst>
              <a:ext uri="{FF2B5EF4-FFF2-40B4-BE49-F238E27FC236}">
                <a16:creationId xmlns:a16="http://schemas.microsoft.com/office/drawing/2014/main" id="{B9E3D326-5370-4A92-A89B-E96221EB41A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40000" y="6551999"/>
            <a:ext cx="4320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900">
                <a:solidFill>
                  <a:schemeClr val="tx1"/>
                </a:solidFill>
                <a:latin typeface="+mj-lt"/>
              </a:defRPr>
            </a:lvl1pPr>
          </a:lstStyle>
          <a:p>
            <a:fld id="{46545F21-C657-4764-B5B2-92A02BE34E1E}" type="slidenum">
              <a:rPr lang="cs-CZ" smtClean="0"/>
              <a:pPr/>
              <a:t>‹#›</a:t>
            </a:fld>
            <a:endParaRPr lang="cs-CZ"/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EF8C060C-46B7-4BF0-BF70-A2A8046939A1}"/>
              </a:ext>
            </a:extLst>
          </p:cNvPr>
          <p:cNvSpPr txBox="1"/>
          <p:nvPr userDrawn="1"/>
        </p:nvSpPr>
        <p:spPr>
          <a:xfrm>
            <a:off x="9864000" y="6593500"/>
            <a:ext cx="1129052" cy="138499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 algn="r"/>
            <a:r>
              <a:rPr lang="cs-CZ" sz="900" b="1">
                <a:solidFill>
                  <a:schemeClr val="tx1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gasnet.cz</a:t>
            </a:r>
            <a:endParaRPr lang="cs-CZ" sz="900" b="1" dirty="0">
              <a:solidFill>
                <a:schemeClr val="tx1"/>
              </a:solidFill>
              <a:latin typeface="Segoe UI Semibold" panose="020B0502040204020203" pitchFamily="34" charset="0"/>
              <a:cs typeface="Segoe UI Semibold" panose="020B0502040204020203" pitchFamily="34" charset="0"/>
            </a:endParaRPr>
          </a:p>
        </p:txBody>
      </p:sp>
      <p:sp>
        <p:nvSpPr>
          <p:cNvPr id="20" name="Zástupný obsah 19">
            <a:extLst>
              <a:ext uri="{FF2B5EF4-FFF2-40B4-BE49-F238E27FC236}">
                <a16:creationId xmlns:a16="http://schemas.microsoft.com/office/drawing/2014/main" id="{F9E27186-5C93-4137-BFBD-8A17A33683DB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839789" y="2264860"/>
            <a:ext cx="4824412" cy="2316267"/>
          </a:xfrm>
          <a:prstGeom prst="rect">
            <a:avLst/>
          </a:prstGeom>
        </p:spPr>
        <p:txBody>
          <a:bodyPr lIns="0" tIns="0" rIns="0" bIns="0" numCol="1" spcCol="720000">
            <a:noAutofit/>
          </a:bodyPr>
          <a:lstStyle>
            <a:lvl1pPr marL="0" indent="0">
              <a:spcBef>
                <a:spcPts val="0"/>
              </a:spcBef>
              <a:spcAft>
                <a:spcPts val="400"/>
              </a:spcAft>
              <a:buFontTx/>
              <a:buNone/>
              <a:defRPr sz="1400" b="0">
                <a:latin typeface="+mn-lt"/>
              </a:defRPr>
            </a:lvl1pPr>
            <a:lvl2pPr marL="288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400" b="0">
                <a:latin typeface="+mn-lt"/>
              </a:defRPr>
            </a:lvl2pPr>
            <a:lvl3pPr marL="576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 b="0">
                <a:latin typeface="+mn-lt"/>
              </a:defRPr>
            </a:lvl3pPr>
            <a:lvl4pPr marL="576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400" b="0">
                <a:latin typeface="+mn-lt"/>
              </a:defRPr>
            </a:lvl4pPr>
            <a:lvl5pPr marL="576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 b="0">
                <a:latin typeface="+mn-lt"/>
              </a:defRPr>
            </a:lvl5pPr>
          </a:lstStyle>
          <a:p>
            <a:pPr lvl="0"/>
            <a:r>
              <a:rPr lang="cs-CZ"/>
              <a:t>První úroveň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</p:txBody>
      </p:sp>
      <p:sp>
        <p:nvSpPr>
          <p:cNvPr id="13" name="Zástupný text 3">
            <a:extLst>
              <a:ext uri="{FF2B5EF4-FFF2-40B4-BE49-F238E27FC236}">
                <a16:creationId xmlns:a16="http://schemas.microsoft.com/office/drawing/2014/main" id="{D0CF5293-90F7-4AA4-944F-0EF59A744B1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31910" y="1692046"/>
            <a:ext cx="4820303" cy="36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800" u="sng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cs-CZ"/>
              <a:t>Doplňkový titulek Regular 18 Underlined</a:t>
            </a:r>
          </a:p>
        </p:txBody>
      </p:sp>
      <p:sp>
        <p:nvSpPr>
          <p:cNvPr id="15" name="Zástupný obsah 19">
            <a:extLst>
              <a:ext uri="{FF2B5EF4-FFF2-40B4-BE49-F238E27FC236}">
                <a16:creationId xmlns:a16="http://schemas.microsoft.com/office/drawing/2014/main" id="{C7C23A5C-AFE2-44B8-8B73-DAB454A07EE8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529855" y="2264860"/>
            <a:ext cx="4824412" cy="2316267"/>
          </a:xfrm>
          <a:prstGeom prst="rect">
            <a:avLst/>
          </a:prstGeom>
        </p:spPr>
        <p:txBody>
          <a:bodyPr lIns="0" tIns="0" rIns="0" bIns="0" numCol="1" spcCol="720000">
            <a:noAutofit/>
          </a:bodyPr>
          <a:lstStyle>
            <a:lvl1pPr marL="0" indent="0">
              <a:spcBef>
                <a:spcPts val="0"/>
              </a:spcBef>
              <a:spcAft>
                <a:spcPts val="400"/>
              </a:spcAft>
              <a:buFontTx/>
              <a:buNone/>
              <a:defRPr sz="1400" b="0">
                <a:latin typeface="+mn-lt"/>
              </a:defRPr>
            </a:lvl1pPr>
            <a:lvl2pPr marL="288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400" b="0">
                <a:latin typeface="+mn-lt"/>
              </a:defRPr>
            </a:lvl2pPr>
            <a:lvl3pPr marL="576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 b="0">
                <a:latin typeface="+mn-lt"/>
              </a:defRPr>
            </a:lvl3pPr>
            <a:lvl4pPr marL="576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400" b="0">
                <a:latin typeface="+mn-lt"/>
              </a:defRPr>
            </a:lvl4pPr>
            <a:lvl5pPr marL="576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 b="0">
                <a:latin typeface="+mn-lt"/>
              </a:defRPr>
            </a:lvl5pPr>
          </a:lstStyle>
          <a:p>
            <a:pPr lvl="0"/>
            <a:r>
              <a:rPr lang="cs-CZ"/>
              <a:t>První úroveň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</p:txBody>
      </p:sp>
      <p:sp>
        <p:nvSpPr>
          <p:cNvPr id="12" name="Zástupný text 22">
            <a:extLst>
              <a:ext uri="{FF2B5EF4-FFF2-40B4-BE49-F238E27FC236}">
                <a16:creationId xmlns:a16="http://schemas.microsoft.com/office/drawing/2014/main" id="{C86BD9B6-6DD9-46C9-A820-98F9745696F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39788" y="4873400"/>
            <a:ext cx="4824784" cy="1208326"/>
          </a:xfrm>
          <a:prstGeom prst="rect">
            <a:avLst/>
          </a:prstGeom>
          <a:solidFill>
            <a:schemeClr val="tx2"/>
          </a:solidFill>
        </p:spPr>
        <p:txBody>
          <a:bodyPr lIns="360000" tIns="288000" rIns="360000" bIns="360000">
            <a:spAutoFit/>
          </a:bodyPr>
          <a:lstStyle>
            <a:lvl1pPr marL="0" indent="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None/>
              <a:defRPr sz="1800">
                <a:solidFill>
                  <a:schemeClr val="bg1"/>
                </a:solidFill>
              </a:defRPr>
            </a:lvl1pPr>
            <a:lvl2pPr marL="288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"/>
              <a:defRPr sz="1800">
                <a:solidFill>
                  <a:schemeClr val="bg1"/>
                </a:solidFill>
              </a:defRPr>
            </a:lvl2pPr>
            <a:lvl3pPr marL="288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800">
                <a:solidFill>
                  <a:schemeClr val="bg1"/>
                </a:solidFill>
              </a:defRPr>
            </a:lvl3pPr>
            <a:lvl4pPr marL="288000" indent="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None/>
              <a:defRPr sz="1800" b="0">
                <a:solidFill>
                  <a:schemeClr val="bg1"/>
                </a:solidFill>
              </a:defRPr>
            </a:lvl4pPr>
            <a:lvl5pPr marL="288000" indent="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cs-CZ"/>
              <a:t>Tento rámeček má variabilní velikost </a:t>
            </a:r>
            <a:br>
              <a:rPr lang="cs-CZ"/>
            </a:br>
            <a:r>
              <a:rPr lang="cs-CZ"/>
              <a:t>a slouží ke zvýraznění informace v textu.</a:t>
            </a:r>
          </a:p>
        </p:txBody>
      </p:sp>
      <p:sp>
        <p:nvSpPr>
          <p:cNvPr id="18" name="Zástupný text 22">
            <a:extLst>
              <a:ext uri="{FF2B5EF4-FFF2-40B4-BE49-F238E27FC236}">
                <a16:creationId xmlns:a16="http://schemas.microsoft.com/office/drawing/2014/main" id="{6D8CD71F-C54B-4B56-A69D-6C041F1A7C3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529669" y="4873400"/>
            <a:ext cx="4824784" cy="1208326"/>
          </a:xfrm>
          <a:prstGeom prst="rect">
            <a:avLst/>
          </a:prstGeom>
          <a:solidFill>
            <a:schemeClr val="tx2"/>
          </a:solidFill>
        </p:spPr>
        <p:txBody>
          <a:bodyPr lIns="360000" tIns="288000" rIns="360000" bIns="360000">
            <a:spAutoFit/>
          </a:bodyPr>
          <a:lstStyle>
            <a:lvl1pPr marL="0" indent="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None/>
              <a:defRPr sz="1800">
                <a:solidFill>
                  <a:schemeClr val="bg1"/>
                </a:solidFill>
              </a:defRPr>
            </a:lvl1pPr>
            <a:lvl2pPr marL="288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"/>
              <a:defRPr sz="1800">
                <a:solidFill>
                  <a:schemeClr val="bg1"/>
                </a:solidFill>
              </a:defRPr>
            </a:lvl2pPr>
            <a:lvl3pPr marL="288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800">
                <a:solidFill>
                  <a:schemeClr val="bg1"/>
                </a:solidFill>
              </a:defRPr>
            </a:lvl3pPr>
            <a:lvl4pPr marL="288000" indent="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None/>
              <a:defRPr sz="1800" b="0">
                <a:solidFill>
                  <a:schemeClr val="bg1"/>
                </a:solidFill>
              </a:defRPr>
            </a:lvl4pPr>
            <a:lvl5pPr marL="288000" indent="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cs-CZ"/>
              <a:t>Tento rámeček má variabilní velikost </a:t>
            </a:r>
            <a:br>
              <a:rPr lang="cs-CZ"/>
            </a:br>
            <a:r>
              <a:rPr lang="cs-CZ"/>
              <a:t>a slouží ke zvýraznění informace v textu.</a:t>
            </a:r>
          </a:p>
        </p:txBody>
      </p:sp>
      <p:pic>
        <p:nvPicPr>
          <p:cNvPr id="19" name="Obrázek 18">
            <a:extLst>
              <a:ext uri="{FF2B5EF4-FFF2-40B4-BE49-F238E27FC236}">
                <a16:creationId xmlns:a16="http://schemas.microsoft.com/office/drawing/2014/main" id="{E4B9095C-B21D-4061-A542-617AF6F722F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07368" y="6551539"/>
            <a:ext cx="216000" cy="201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00780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ozložení 0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délník 1">
            <a:extLst>
              <a:ext uri="{FF2B5EF4-FFF2-40B4-BE49-F238E27FC236}">
                <a16:creationId xmlns:a16="http://schemas.microsoft.com/office/drawing/2014/main" id="{1B93E936-06F7-4ACF-BA3B-1B908FB0ED86}"/>
              </a:ext>
            </a:extLst>
          </p:cNvPr>
          <p:cNvSpPr/>
          <p:nvPr userDrawn="1"/>
        </p:nvSpPr>
        <p:spPr bwMode="gray">
          <a:xfrm>
            <a:off x="407988" y="413490"/>
            <a:ext cx="11376024" cy="6039698"/>
          </a:xfrm>
          <a:prstGeom prst="rect">
            <a:avLst/>
          </a:prstGeom>
          <a:solidFill>
            <a:schemeClr val="accent4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ctr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cs-CZ" sz="1400" dirty="0">
              <a:solidFill>
                <a:schemeClr val="bg1"/>
              </a:solidFill>
            </a:endParaRPr>
          </a:p>
        </p:txBody>
      </p:sp>
      <p:sp>
        <p:nvSpPr>
          <p:cNvPr id="5" name="Zástupný text 20">
            <a:extLst>
              <a:ext uri="{FF2B5EF4-FFF2-40B4-BE49-F238E27FC236}">
                <a16:creationId xmlns:a16="http://schemas.microsoft.com/office/drawing/2014/main" id="{F6C0F4D3-5EDB-419E-A8E6-1B447BF3FC6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9416" y="764768"/>
            <a:ext cx="10512797" cy="576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cs-CZ"/>
              <a:t>Titulek SemiBold 36</a:t>
            </a:r>
          </a:p>
        </p:txBody>
      </p:sp>
      <p:sp>
        <p:nvSpPr>
          <p:cNvPr id="7" name="Zástupný text 3">
            <a:extLst>
              <a:ext uri="{FF2B5EF4-FFF2-40B4-BE49-F238E27FC236}">
                <a16:creationId xmlns:a16="http://schemas.microsoft.com/office/drawing/2014/main" id="{7995F1F8-0381-4379-8459-DA94E6060E2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43897" y="1692046"/>
            <a:ext cx="3163871" cy="360000"/>
          </a:xfrm>
          <a:prstGeom prst="rect">
            <a:avLst/>
          </a:prstGeom>
        </p:spPr>
        <p:txBody>
          <a:bodyPr lIns="0" tIns="0" rIns="0" bIns="0" numCol="1"/>
          <a:lstStyle>
            <a:lvl1pPr marL="0" indent="0">
              <a:spcBef>
                <a:spcPts val="0"/>
              </a:spcBef>
              <a:buNone/>
              <a:defRPr sz="1400" b="1" u="sng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cs-CZ"/>
              <a:t>Titulek Regular 14 Underlined, tučně</a:t>
            </a:r>
          </a:p>
        </p:txBody>
      </p:sp>
      <p:sp>
        <p:nvSpPr>
          <p:cNvPr id="16" name="Zástupný symbol pro číslo snímku 2">
            <a:extLst>
              <a:ext uri="{FF2B5EF4-FFF2-40B4-BE49-F238E27FC236}">
                <a16:creationId xmlns:a16="http://schemas.microsoft.com/office/drawing/2014/main" id="{B9E3D326-5370-4A92-A89B-E96221EB41A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40000" y="6551999"/>
            <a:ext cx="4320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900">
                <a:solidFill>
                  <a:schemeClr val="tx1"/>
                </a:solidFill>
                <a:latin typeface="+mj-lt"/>
              </a:defRPr>
            </a:lvl1pPr>
          </a:lstStyle>
          <a:p>
            <a:fld id="{46545F21-C657-4764-B5B2-92A02BE34E1E}" type="slidenum">
              <a:rPr lang="cs-CZ" smtClean="0"/>
              <a:pPr/>
              <a:t>‹#›</a:t>
            </a:fld>
            <a:endParaRPr lang="cs-CZ">
              <a:latin typeface="+mj-lt"/>
            </a:endParaRP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EF8C060C-46B7-4BF0-BF70-A2A8046939A1}"/>
              </a:ext>
            </a:extLst>
          </p:cNvPr>
          <p:cNvSpPr txBox="1"/>
          <p:nvPr userDrawn="1"/>
        </p:nvSpPr>
        <p:spPr>
          <a:xfrm>
            <a:off x="9864000" y="6593500"/>
            <a:ext cx="1129052" cy="138499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 algn="r"/>
            <a:r>
              <a:rPr lang="cs-CZ" sz="900" b="1">
                <a:solidFill>
                  <a:schemeClr val="tx1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gasnet.cz</a:t>
            </a:r>
            <a:endParaRPr lang="cs-CZ" sz="900" b="1" dirty="0">
              <a:solidFill>
                <a:schemeClr val="tx1"/>
              </a:solidFill>
              <a:latin typeface="Segoe UI Semibold" panose="020B0502040204020203" pitchFamily="34" charset="0"/>
              <a:cs typeface="Segoe UI Semibold" panose="020B0502040204020203" pitchFamily="34" charset="0"/>
            </a:endParaRPr>
          </a:p>
        </p:txBody>
      </p:sp>
      <p:sp>
        <p:nvSpPr>
          <p:cNvPr id="20" name="Zástupný obsah 19">
            <a:extLst>
              <a:ext uri="{FF2B5EF4-FFF2-40B4-BE49-F238E27FC236}">
                <a16:creationId xmlns:a16="http://schemas.microsoft.com/office/drawing/2014/main" id="{F9E27186-5C93-4137-BFBD-8A17A33683DB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839789" y="2164340"/>
            <a:ext cx="3163871" cy="3928892"/>
          </a:xfrm>
          <a:prstGeom prst="rect">
            <a:avLst/>
          </a:prstGeom>
        </p:spPr>
        <p:txBody>
          <a:bodyPr lIns="0" tIns="0" rIns="0" bIns="0" numCol="1" spcCol="720000">
            <a:noAutofit/>
          </a:bodyPr>
          <a:lstStyle>
            <a:lvl1pPr marL="0" indent="0">
              <a:spcBef>
                <a:spcPts val="0"/>
              </a:spcBef>
              <a:spcAft>
                <a:spcPts val="400"/>
              </a:spcAft>
              <a:buFontTx/>
              <a:buNone/>
              <a:defRPr sz="1400" b="0">
                <a:latin typeface="+mn-lt"/>
              </a:defRPr>
            </a:lvl1pPr>
            <a:lvl2pPr marL="288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400" b="0">
                <a:latin typeface="+mn-lt"/>
              </a:defRPr>
            </a:lvl2pPr>
            <a:lvl3pPr marL="576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 b="0">
                <a:latin typeface="+mn-lt"/>
              </a:defRPr>
            </a:lvl3pPr>
            <a:lvl4pPr marL="576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400" b="0">
                <a:latin typeface="+mn-lt"/>
              </a:defRPr>
            </a:lvl4pPr>
            <a:lvl5pPr marL="576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 b="0">
                <a:latin typeface="+mn-lt"/>
              </a:defRPr>
            </a:lvl5pPr>
          </a:lstStyle>
          <a:p>
            <a:pPr lvl="0"/>
            <a:r>
              <a:rPr lang="cs-CZ"/>
              <a:t>První úroveň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</p:txBody>
      </p:sp>
      <p:sp>
        <p:nvSpPr>
          <p:cNvPr id="24" name="Zástupný text 3">
            <a:extLst>
              <a:ext uri="{FF2B5EF4-FFF2-40B4-BE49-F238E27FC236}">
                <a16:creationId xmlns:a16="http://schemas.microsoft.com/office/drawing/2014/main" id="{64F1152D-AFC3-4C42-AC4C-B328E16FEC6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14064" y="1692046"/>
            <a:ext cx="3163871" cy="360000"/>
          </a:xfrm>
          <a:prstGeom prst="rect">
            <a:avLst/>
          </a:prstGeom>
        </p:spPr>
        <p:txBody>
          <a:bodyPr lIns="0" tIns="0" rIns="0" bIns="0" numCol="1"/>
          <a:lstStyle>
            <a:lvl1pPr marL="0" indent="0">
              <a:spcBef>
                <a:spcPts val="0"/>
              </a:spcBef>
              <a:buNone/>
              <a:defRPr sz="1400" b="1" u="sng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cs-CZ"/>
              <a:t>Titulek Regular 14 Underlined, tučně</a:t>
            </a:r>
          </a:p>
        </p:txBody>
      </p:sp>
      <p:sp>
        <p:nvSpPr>
          <p:cNvPr id="25" name="Zástupný obsah 19">
            <a:extLst>
              <a:ext uri="{FF2B5EF4-FFF2-40B4-BE49-F238E27FC236}">
                <a16:creationId xmlns:a16="http://schemas.microsoft.com/office/drawing/2014/main" id="{1D6EB088-0185-4945-99A2-6CAD6F8DD9C2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4509956" y="2164340"/>
            <a:ext cx="3163871" cy="3928892"/>
          </a:xfrm>
          <a:prstGeom prst="rect">
            <a:avLst/>
          </a:prstGeom>
        </p:spPr>
        <p:txBody>
          <a:bodyPr lIns="0" tIns="0" rIns="0" bIns="0" numCol="1" spcCol="720000">
            <a:noAutofit/>
          </a:bodyPr>
          <a:lstStyle>
            <a:lvl1pPr marL="0" indent="0">
              <a:spcBef>
                <a:spcPts val="0"/>
              </a:spcBef>
              <a:spcAft>
                <a:spcPts val="400"/>
              </a:spcAft>
              <a:buFontTx/>
              <a:buNone/>
              <a:defRPr sz="1400" b="0">
                <a:latin typeface="+mn-lt"/>
              </a:defRPr>
            </a:lvl1pPr>
            <a:lvl2pPr marL="288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400" b="0">
                <a:latin typeface="+mn-lt"/>
              </a:defRPr>
            </a:lvl2pPr>
            <a:lvl3pPr marL="576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 b="0">
                <a:latin typeface="+mn-lt"/>
              </a:defRPr>
            </a:lvl3pPr>
            <a:lvl4pPr marL="576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400" b="0">
                <a:latin typeface="+mn-lt"/>
              </a:defRPr>
            </a:lvl4pPr>
            <a:lvl5pPr marL="576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 b="0">
                <a:latin typeface="+mn-lt"/>
              </a:defRPr>
            </a:lvl5pPr>
          </a:lstStyle>
          <a:p>
            <a:pPr lvl="0"/>
            <a:r>
              <a:rPr lang="cs-CZ"/>
              <a:t>První úroveň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</p:txBody>
      </p:sp>
      <p:sp>
        <p:nvSpPr>
          <p:cNvPr id="26" name="Zástupný text 3">
            <a:extLst>
              <a:ext uri="{FF2B5EF4-FFF2-40B4-BE49-F238E27FC236}">
                <a16:creationId xmlns:a16="http://schemas.microsoft.com/office/drawing/2014/main" id="{04BF35F7-D4B0-4F7C-B8B6-216C90A51DC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188342" y="1692046"/>
            <a:ext cx="3163871" cy="360000"/>
          </a:xfrm>
          <a:prstGeom prst="rect">
            <a:avLst/>
          </a:prstGeom>
        </p:spPr>
        <p:txBody>
          <a:bodyPr lIns="0" tIns="0" rIns="0" bIns="0" numCol="1"/>
          <a:lstStyle>
            <a:lvl1pPr marL="0" indent="0">
              <a:spcBef>
                <a:spcPts val="0"/>
              </a:spcBef>
              <a:buNone/>
              <a:defRPr sz="1400" b="1" u="sng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cs-CZ"/>
              <a:t>Titulek Regular 14 Underlined, tučně</a:t>
            </a:r>
          </a:p>
        </p:txBody>
      </p:sp>
      <p:sp>
        <p:nvSpPr>
          <p:cNvPr id="27" name="Zástupný obsah 19">
            <a:extLst>
              <a:ext uri="{FF2B5EF4-FFF2-40B4-BE49-F238E27FC236}">
                <a16:creationId xmlns:a16="http://schemas.microsoft.com/office/drawing/2014/main" id="{BE82FAFB-0342-4766-A16D-624FEB0DF08B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8184234" y="2164340"/>
            <a:ext cx="3163871" cy="3928892"/>
          </a:xfrm>
          <a:prstGeom prst="rect">
            <a:avLst/>
          </a:prstGeom>
        </p:spPr>
        <p:txBody>
          <a:bodyPr lIns="0" tIns="0" rIns="0" bIns="0" numCol="1" spcCol="720000">
            <a:noAutofit/>
          </a:bodyPr>
          <a:lstStyle>
            <a:lvl1pPr marL="0" indent="0">
              <a:spcBef>
                <a:spcPts val="0"/>
              </a:spcBef>
              <a:spcAft>
                <a:spcPts val="400"/>
              </a:spcAft>
              <a:buFontTx/>
              <a:buNone/>
              <a:defRPr sz="1400" b="0">
                <a:latin typeface="+mn-lt"/>
              </a:defRPr>
            </a:lvl1pPr>
            <a:lvl2pPr marL="288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400" b="0">
                <a:latin typeface="+mn-lt"/>
              </a:defRPr>
            </a:lvl2pPr>
            <a:lvl3pPr marL="576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 b="0">
                <a:latin typeface="+mn-lt"/>
              </a:defRPr>
            </a:lvl3pPr>
            <a:lvl4pPr marL="576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400" b="0">
                <a:latin typeface="+mn-lt"/>
              </a:defRPr>
            </a:lvl4pPr>
            <a:lvl5pPr marL="576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 b="0">
                <a:latin typeface="+mn-lt"/>
              </a:defRPr>
            </a:lvl5pPr>
          </a:lstStyle>
          <a:p>
            <a:pPr lvl="0"/>
            <a:r>
              <a:rPr lang="cs-CZ"/>
              <a:t>První úroveň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55ACC0D9-A02A-4899-B7DD-6A96400B886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07368" y="6551539"/>
            <a:ext cx="216000" cy="201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633273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ozložení 0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délník 1">
            <a:extLst>
              <a:ext uri="{FF2B5EF4-FFF2-40B4-BE49-F238E27FC236}">
                <a16:creationId xmlns:a16="http://schemas.microsoft.com/office/drawing/2014/main" id="{1B93E936-06F7-4ACF-BA3B-1B908FB0ED86}"/>
              </a:ext>
            </a:extLst>
          </p:cNvPr>
          <p:cNvSpPr/>
          <p:nvPr userDrawn="1"/>
        </p:nvSpPr>
        <p:spPr bwMode="gray">
          <a:xfrm>
            <a:off x="407988" y="413490"/>
            <a:ext cx="11376024" cy="6039698"/>
          </a:xfrm>
          <a:prstGeom prst="rect">
            <a:avLst/>
          </a:prstGeom>
          <a:solidFill>
            <a:schemeClr val="tx2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ctr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cs-CZ" sz="1400" dirty="0">
              <a:solidFill>
                <a:schemeClr val="bg1"/>
              </a:solidFill>
            </a:endParaRPr>
          </a:p>
        </p:txBody>
      </p:sp>
      <p:sp>
        <p:nvSpPr>
          <p:cNvPr id="5" name="Zástupný text 20">
            <a:extLst>
              <a:ext uri="{FF2B5EF4-FFF2-40B4-BE49-F238E27FC236}">
                <a16:creationId xmlns:a16="http://schemas.microsoft.com/office/drawing/2014/main" id="{F6C0F4D3-5EDB-419E-A8E6-1B447BF3FC6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9416" y="764768"/>
            <a:ext cx="10512797" cy="576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cs-CZ"/>
              <a:t>Titulek SemiBold 36</a:t>
            </a:r>
          </a:p>
        </p:txBody>
      </p:sp>
      <p:sp>
        <p:nvSpPr>
          <p:cNvPr id="7" name="Zástupný text 3">
            <a:extLst>
              <a:ext uri="{FF2B5EF4-FFF2-40B4-BE49-F238E27FC236}">
                <a16:creationId xmlns:a16="http://schemas.microsoft.com/office/drawing/2014/main" id="{7995F1F8-0381-4379-8459-DA94E6060E2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43897" y="1692046"/>
            <a:ext cx="4820303" cy="36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800" u="sng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cs-CZ"/>
              <a:t>Doplňkový titulek Regular 18 Underlined</a:t>
            </a:r>
          </a:p>
        </p:txBody>
      </p:sp>
      <p:sp>
        <p:nvSpPr>
          <p:cNvPr id="16" name="Zástupný symbol pro číslo snímku 2">
            <a:extLst>
              <a:ext uri="{FF2B5EF4-FFF2-40B4-BE49-F238E27FC236}">
                <a16:creationId xmlns:a16="http://schemas.microsoft.com/office/drawing/2014/main" id="{B9E3D326-5370-4A92-A89B-E96221EB41A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40000" y="6551999"/>
            <a:ext cx="4320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900">
                <a:solidFill>
                  <a:schemeClr val="tx1"/>
                </a:solidFill>
                <a:latin typeface="+mj-lt"/>
              </a:defRPr>
            </a:lvl1pPr>
          </a:lstStyle>
          <a:p>
            <a:fld id="{46545F21-C657-4764-B5B2-92A02BE34E1E}" type="slidenum">
              <a:rPr lang="cs-CZ" smtClean="0"/>
              <a:pPr/>
              <a:t>‹#›</a:t>
            </a:fld>
            <a:endParaRPr lang="cs-CZ">
              <a:latin typeface="+mj-lt"/>
            </a:endParaRP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EF8C060C-46B7-4BF0-BF70-A2A8046939A1}"/>
              </a:ext>
            </a:extLst>
          </p:cNvPr>
          <p:cNvSpPr txBox="1"/>
          <p:nvPr userDrawn="1"/>
        </p:nvSpPr>
        <p:spPr>
          <a:xfrm>
            <a:off x="9864000" y="6593500"/>
            <a:ext cx="1129052" cy="138499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 algn="r"/>
            <a:r>
              <a:rPr lang="cs-CZ" sz="900" b="1">
                <a:solidFill>
                  <a:schemeClr val="tx1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gasnet.cz</a:t>
            </a:r>
            <a:endParaRPr lang="cs-CZ" sz="900" b="1" dirty="0">
              <a:solidFill>
                <a:schemeClr val="tx1"/>
              </a:solidFill>
              <a:latin typeface="Segoe UI Semibold" panose="020B0502040204020203" pitchFamily="34" charset="0"/>
              <a:cs typeface="Segoe UI Semibold" panose="020B0502040204020203" pitchFamily="34" charset="0"/>
            </a:endParaRPr>
          </a:p>
        </p:txBody>
      </p:sp>
      <p:sp>
        <p:nvSpPr>
          <p:cNvPr id="20" name="Zástupný obsah 19">
            <a:extLst>
              <a:ext uri="{FF2B5EF4-FFF2-40B4-BE49-F238E27FC236}">
                <a16:creationId xmlns:a16="http://schemas.microsoft.com/office/drawing/2014/main" id="{F9E27186-5C93-4137-BFBD-8A17A33683DB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839789" y="2264860"/>
            <a:ext cx="4824412" cy="3828372"/>
          </a:xfrm>
          <a:prstGeom prst="rect">
            <a:avLst/>
          </a:prstGeom>
        </p:spPr>
        <p:txBody>
          <a:bodyPr lIns="0" tIns="0" rIns="0" bIns="0" numCol="1" spcCol="720000">
            <a:noAutofit/>
          </a:bodyPr>
          <a:lstStyle>
            <a:lvl1pPr marL="0" indent="0">
              <a:spcBef>
                <a:spcPts val="0"/>
              </a:spcBef>
              <a:spcAft>
                <a:spcPts val="400"/>
              </a:spcAft>
              <a:buFontTx/>
              <a:buNone/>
              <a:defRPr sz="1400" b="0">
                <a:solidFill>
                  <a:schemeClr val="bg1"/>
                </a:solidFill>
                <a:latin typeface="+mn-lt"/>
              </a:defRPr>
            </a:lvl1pPr>
            <a:lvl2pPr marL="288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400" b="0">
                <a:solidFill>
                  <a:schemeClr val="bg1"/>
                </a:solidFill>
                <a:latin typeface="+mn-lt"/>
              </a:defRPr>
            </a:lvl2pPr>
            <a:lvl3pPr marL="576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 b="0">
                <a:solidFill>
                  <a:schemeClr val="bg1"/>
                </a:solidFill>
                <a:latin typeface="+mn-lt"/>
              </a:defRPr>
            </a:lvl3pPr>
            <a:lvl4pPr marL="576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400" b="0">
                <a:latin typeface="+mn-lt"/>
              </a:defRPr>
            </a:lvl4pPr>
            <a:lvl5pPr marL="576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 b="0">
                <a:latin typeface="+mn-lt"/>
              </a:defRPr>
            </a:lvl5pPr>
          </a:lstStyle>
          <a:p>
            <a:pPr lvl="0"/>
            <a:r>
              <a:rPr lang="cs-CZ"/>
              <a:t>První úroveň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</p:txBody>
      </p:sp>
      <p:sp>
        <p:nvSpPr>
          <p:cNvPr id="13" name="Zástupný text 3">
            <a:extLst>
              <a:ext uri="{FF2B5EF4-FFF2-40B4-BE49-F238E27FC236}">
                <a16:creationId xmlns:a16="http://schemas.microsoft.com/office/drawing/2014/main" id="{D0CF5293-90F7-4AA4-944F-0EF59A744B1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31910" y="1692046"/>
            <a:ext cx="4820303" cy="36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800" u="sng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cs-CZ"/>
              <a:t>Doplňkový titulek Regular 18 Underlined</a:t>
            </a:r>
          </a:p>
        </p:txBody>
      </p:sp>
      <p:sp>
        <p:nvSpPr>
          <p:cNvPr id="15" name="Zástupný obsah 19">
            <a:extLst>
              <a:ext uri="{FF2B5EF4-FFF2-40B4-BE49-F238E27FC236}">
                <a16:creationId xmlns:a16="http://schemas.microsoft.com/office/drawing/2014/main" id="{C7C23A5C-AFE2-44B8-8B73-DAB454A07EE8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529855" y="2264860"/>
            <a:ext cx="4824412" cy="3828372"/>
          </a:xfrm>
          <a:prstGeom prst="rect">
            <a:avLst/>
          </a:prstGeom>
        </p:spPr>
        <p:txBody>
          <a:bodyPr lIns="0" tIns="0" rIns="0" bIns="0" numCol="1" spcCol="720000">
            <a:noAutofit/>
          </a:bodyPr>
          <a:lstStyle>
            <a:lvl1pPr marL="0" indent="0">
              <a:spcBef>
                <a:spcPts val="0"/>
              </a:spcBef>
              <a:spcAft>
                <a:spcPts val="400"/>
              </a:spcAft>
              <a:buFontTx/>
              <a:buNone/>
              <a:defRPr sz="1400" b="0">
                <a:solidFill>
                  <a:schemeClr val="bg1"/>
                </a:solidFill>
                <a:latin typeface="+mn-lt"/>
              </a:defRPr>
            </a:lvl1pPr>
            <a:lvl2pPr marL="288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400" b="0">
                <a:solidFill>
                  <a:schemeClr val="bg1"/>
                </a:solidFill>
                <a:latin typeface="+mn-lt"/>
              </a:defRPr>
            </a:lvl2pPr>
            <a:lvl3pPr marL="576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 b="0">
                <a:solidFill>
                  <a:schemeClr val="bg1"/>
                </a:solidFill>
                <a:latin typeface="+mn-lt"/>
              </a:defRPr>
            </a:lvl3pPr>
            <a:lvl4pPr marL="576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400" b="0">
                <a:latin typeface="+mn-lt"/>
              </a:defRPr>
            </a:lvl4pPr>
            <a:lvl5pPr marL="576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 b="0">
                <a:latin typeface="+mn-lt"/>
              </a:defRPr>
            </a:lvl5pPr>
          </a:lstStyle>
          <a:p>
            <a:pPr lvl="0"/>
            <a:r>
              <a:rPr lang="cs-CZ"/>
              <a:t>První úroveň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</p:txBody>
      </p:sp>
      <p:pic>
        <p:nvPicPr>
          <p:cNvPr id="11" name="Obrázek 10">
            <a:extLst>
              <a:ext uri="{FF2B5EF4-FFF2-40B4-BE49-F238E27FC236}">
                <a16:creationId xmlns:a16="http://schemas.microsoft.com/office/drawing/2014/main" id="{D1A3D022-20B7-446E-A5B7-762A60694AC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07368" y="6551539"/>
            <a:ext cx="216000" cy="201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378737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ozložení 0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délník 1">
            <a:extLst>
              <a:ext uri="{FF2B5EF4-FFF2-40B4-BE49-F238E27FC236}">
                <a16:creationId xmlns:a16="http://schemas.microsoft.com/office/drawing/2014/main" id="{1B93E936-06F7-4ACF-BA3B-1B908FB0ED86}"/>
              </a:ext>
            </a:extLst>
          </p:cNvPr>
          <p:cNvSpPr/>
          <p:nvPr userDrawn="1"/>
        </p:nvSpPr>
        <p:spPr bwMode="gray">
          <a:xfrm>
            <a:off x="407988" y="413490"/>
            <a:ext cx="11376024" cy="6039698"/>
          </a:xfrm>
          <a:prstGeom prst="rect">
            <a:avLst/>
          </a:prstGeom>
          <a:solidFill>
            <a:schemeClr val="tx2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ctr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cs-CZ" sz="1400" dirty="0">
              <a:solidFill>
                <a:schemeClr val="bg1"/>
              </a:solidFill>
            </a:endParaRPr>
          </a:p>
        </p:txBody>
      </p:sp>
      <p:sp>
        <p:nvSpPr>
          <p:cNvPr id="5" name="Zástupný text 20">
            <a:extLst>
              <a:ext uri="{FF2B5EF4-FFF2-40B4-BE49-F238E27FC236}">
                <a16:creationId xmlns:a16="http://schemas.microsoft.com/office/drawing/2014/main" id="{F6C0F4D3-5EDB-419E-A8E6-1B447BF3FC6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9416" y="764768"/>
            <a:ext cx="10512797" cy="576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cs-CZ"/>
              <a:t>Titulek SemiBold 36</a:t>
            </a:r>
          </a:p>
        </p:txBody>
      </p:sp>
      <p:sp>
        <p:nvSpPr>
          <p:cNvPr id="7" name="Zástupný text 3">
            <a:extLst>
              <a:ext uri="{FF2B5EF4-FFF2-40B4-BE49-F238E27FC236}">
                <a16:creationId xmlns:a16="http://schemas.microsoft.com/office/drawing/2014/main" id="{7995F1F8-0381-4379-8459-DA94E6060E2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43897" y="1692046"/>
            <a:ext cx="4820303" cy="36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800" u="sng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cs-CZ"/>
              <a:t>Doplňkový titulek Regular 18 Underlined</a:t>
            </a:r>
          </a:p>
        </p:txBody>
      </p:sp>
      <p:sp>
        <p:nvSpPr>
          <p:cNvPr id="16" name="Zástupný symbol pro číslo snímku 2">
            <a:extLst>
              <a:ext uri="{FF2B5EF4-FFF2-40B4-BE49-F238E27FC236}">
                <a16:creationId xmlns:a16="http://schemas.microsoft.com/office/drawing/2014/main" id="{B9E3D326-5370-4A92-A89B-E96221EB41A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40000" y="6551999"/>
            <a:ext cx="4320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900">
                <a:solidFill>
                  <a:schemeClr val="tx1"/>
                </a:solidFill>
                <a:latin typeface="+mj-lt"/>
              </a:defRPr>
            </a:lvl1pPr>
          </a:lstStyle>
          <a:p>
            <a:fld id="{46545F21-C657-4764-B5B2-92A02BE34E1E}" type="slidenum">
              <a:rPr lang="cs-CZ" smtClean="0"/>
              <a:pPr/>
              <a:t>‹#›</a:t>
            </a:fld>
            <a:endParaRPr lang="cs-CZ">
              <a:latin typeface="+mj-lt"/>
            </a:endParaRP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EF8C060C-46B7-4BF0-BF70-A2A8046939A1}"/>
              </a:ext>
            </a:extLst>
          </p:cNvPr>
          <p:cNvSpPr txBox="1"/>
          <p:nvPr userDrawn="1"/>
        </p:nvSpPr>
        <p:spPr>
          <a:xfrm>
            <a:off x="9864000" y="6593500"/>
            <a:ext cx="1129052" cy="138499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 algn="r"/>
            <a:r>
              <a:rPr lang="cs-CZ" sz="900" b="1">
                <a:solidFill>
                  <a:schemeClr val="tx1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gasnet.cz</a:t>
            </a:r>
            <a:endParaRPr lang="cs-CZ" sz="900" b="1" dirty="0">
              <a:solidFill>
                <a:schemeClr val="tx1"/>
              </a:solidFill>
              <a:latin typeface="Segoe UI Semibold" panose="020B0502040204020203" pitchFamily="34" charset="0"/>
              <a:cs typeface="Segoe UI Semibold" panose="020B0502040204020203" pitchFamily="34" charset="0"/>
            </a:endParaRPr>
          </a:p>
        </p:txBody>
      </p:sp>
      <p:sp>
        <p:nvSpPr>
          <p:cNvPr id="20" name="Zástupný obsah 19">
            <a:extLst>
              <a:ext uri="{FF2B5EF4-FFF2-40B4-BE49-F238E27FC236}">
                <a16:creationId xmlns:a16="http://schemas.microsoft.com/office/drawing/2014/main" id="{F9E27186-5C93-4137-BFBD-8A17A33683DB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839789" y="2264860"/>
            <a:ext cx="4824412" cy="3827965"/>
          </a:xfrm>
          <a:prstGeom prst="rect">
            <a:avLst/>
          </a:prstGeom>
        </p:spPr>
        <p:txBody>
          <a:bodyPr lIns="0" tIns="0" rIns="0" bIns="0" numCol="1" spcCol="720000">
            <a:noAutofit/>
          </a:bodyPr>
          <a:lstStyle>
            <a:lvl1pPr marL="0" indent="0">
              <a:spcBef>
                <a:spcPts val="0"/>
              </a:spcBef>
              <a:spcAft>
                <a:spcPts val="400"/>
              </a:spcAft>
              <a:buFontTx/>
              <a:buNone/>
              <a:defRPr sz="1400" b="0">
                <a:solidFill>
                  <a:schemeClr val="bg1"/>
                </a:solidFill>
                <a:latin typeface="+mn-lt"/>
              </a:defRPr>
            </a:lvl1pPr>
            <a:lvl2pPr marL="288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400" b="0">
                <a:solidFill>
                  <a:schemeClr val="bg1"/>
                </a:solidFill>
                <a:latin typeface="+mn-lt"/>
              </a:defRPr>
            </a:lvl2pPr>
            <a:lvl3pPr marL="576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 b="0">
                <a:solidFill>
                  <a:schemeClr val="bg1"/>
                </a:solidFill>
                <a:latin typeface="+mn-lt"/>
              </a:defRPr>
            </a:lvl3pPr>
            <a:lvl4pPr marL="576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400" b="0">
                <a:latin typeface="+mn-lt"/>
              </a:defRPr>
            </a:lvl4pPr>
            <a:lvl5pPr marL="576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 b="0">
                <a:latin typeface="+mn-lt"/>
              </a:defRPr>
            </a:lvl5pPr>
          </a:lstStyle>
          <a:p>
            <a:pPr lvl="0"/>
            <a:r>
              <a:rPr lang="cs-CZ"/>
              <a:t>První úroveň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</p:txBody>
      </p:sp>
      <p:sp>
        <p:nvSpPr>
          <p:cNvPr id="13" name="Zástupný text 3">
            <a:extLst>
              <a:ext uri="{FF2B5EF4-FFF2-40B4-BE49-F238E27FC236}">
                <a16:creationId xmlns:a16="http://schemas.microsoft.com/office/drawing/2014/main" id="{D0CF5293-90F7-4AA4-944F-0EF59A744B1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31910" y="1692046"/>
            <a:ext cx="4820303" cy="36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800" u="sng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cs-CZ"/>
              <a:t>Doplňkový titulek Regular 18 Underlined</a:t>
            </a:r>
          </a:p>
        </p:txBody>
      </p:sp>
      <p:sp>
        <p:nvSpPr>
          <p:cNvPr id="15" name="Zástupný obsah 19">
            <a:extLst>
              <a:ext uri="{FF2B5EF4-FFF2-40B4-BE49-F238E27FC236}">
                <a16:creationId xmlns:a16="http://schemas.microsoft.com/office/drawing/2014/main" id="{C7C23A5C-AFE2-44B8-8B73-DAB454A07EE8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529855" y="4865950"/>
            <a:ext cx="4824412" cy="1226876"/>
          </a:xfrm>
          <a:prstGeom prst="rect">
            <a:avLst/>
          </a:prstGeom>
        </p:spPr>
        <p:txBody>
          <a:bodyPr lIns="0" tIns="0" rIns="0" bIns="0" numCol="1" spcCol="720000">
            <a:noAutofit/>
          </a:bodyPr>
          <a:lstStyle>
            <a:lvl1pPr marL="0" indent="0">
              <a:spcBef>
                <a:spcPts val="0"/>
              </a:spcBef>
              <a:spcAft>
                <a:spcPts val="400"/>
              </a:spcAft>
              <a:buFontTx/>
              <a:buNone/>
              <a:defRPr sz="1400" b="0">
                <a:solidFill>
                  <a:schemeClr val="bg1"/>
                </a:solidFill>
                <a:latin typeface="+mn-lt"/>
              </a:defRPr>
            </a:lvl1pPr>
            <a:lvl2pPr marL="288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400" b="0">
                <a:solidFill>
                  <a:schemeClr val="bg1"/>
                </a:solidFill>
                <a:latin typeface="+mn-lt"/>
              </a:defRPr>
            </a:lvl2pPr>
            <a:lvl3pPr marL="576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 b="0">
                <a:solidFill>
                  <a:schemeClr val="bg1"/>
                </a:solidFill>
                <a:latin typeface="+mn-lt"/>
              </a:defRPr>
            </a:lvl3pPr>
            <a:lvl4pPr marL="576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400" b="0">
                <a:latin typeface="+mn-lt"/>
              </a:defRPr>
            </a:lvl4pPr>
            <a:lvl5pPr marL="576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 b="0">
                <a:latin typeface="+mn-lt"/>
              </a:defRPr>
            </a:lvl5pPr>
          </a:lstStyle>
          <a:p>
            <a:pPr lvl="0"/>
            <a:r>
              <a:rPr lang="cs-CZ"/>
              <a:t>První úroveň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</p:txBody>
      </p:sp>
      <p:sp>
        <p:nvSpPr>
          <p:cNvPr id="12" name="Zástupný obsah 19">
            <a:extLst>
              <a:ext uri="{FF2B5EF4-FFF2-40B4-BE49-F238E27FC236}">
                <a16:creationId xmlns:a16="http://schemas.microsoft.com/office/drawing/2014/main" id="{450B85BF-41CC-4F60-86B9-23AE19AE6829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524792" y="2264860"/>
            <a:ext cx="4824412" cy="2388276"/>
          </a:xfrm>
          <a:prstGeom prst="rect">
            <a:avLst/>
          </a:prstGeom>
        </p:spPr>
        <p:txBody>
          <a:bodyPr lIns="0" tIns="0" rIns="0" bIns="0" numCol="1" spcCol="720000">
            <a:noAutofit/>
          </a:bodyPr>
          <a:lstStyle>
            <a:lvl1pPr marL="0" indent="0">
              <a:spcBef>
                <a:spcPts val="0"/>
              </a:spcBef>
              <a:spcAft>
                <a:spcPts val="400"/>
              </a:spcAft>
              <a:buFontTx/>
              <a:buNone/>
              <a:defRPr sz="1400" b="0">
                <a:solidFill>
                  <a:schemeClr val="bg1"/>
                </a:solidFill>
                <a:latin typeface="+mn-lt"/>
              </a:defRPr>
            </a:lvl1pPr>
            <a:lvl2pPr marL="288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400" b="0">
                <a:latin typeface="+mn-lt"/>
              </a:defRPr>
            </a:lvl2pPr>
            <a:lvl3pPr marL="576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 b="0">
                <a:latin typeface="+mn-lt"/>
              </a:defRPr>
            </a:lvl3pPr>
            <a:lvl4pPr marL="576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400" b="0">
                <a:latin typeface="+mn-lt"/>
              </a:defRPr>
            </a:lvl4pPr>
            <a:lvl5pPr marL="576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 b="0">
                <a:latin typeface="+mn-lt"/>
              </a:defRPr>
            </a:lvl5pPr>
          </a:lstStyle>
          <a:p>
            <a:pPr lvl="0"/>
            <a:r>
              <a:rPr lang="cs-CZ"/>
              <a:t>Obrázek nebo graf</a:t>
            </a:r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211E96FE-BD01-48BE-8D89-8929A932A12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07368" y="6551539"/>
            <a:ext cx="216000" cy="201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685685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ozložení 0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délník 1">
            <a:extLst>
              <a:ext uri="{FF2B5EF4-FFF2-40B4-BE49-F238E27FC236}">
                <a16:creationId xmlns:a16="http://schemas.microsoft.com/office/drawing/2014/main" id="{1B93E936-06F7-4ACF-BA3B-1B908FB0ED86}"/>
              </a:ext>
            </a:extLst>
          </p:cNvPr>
          <p:cNvSpPr/>
          <p:nvPr userDrawn="1"/>
        </p:nvSpPr>
        <p:spPr bwMode="gray">
          <a:xfrm>
            <a:off x="407988" y="413490"/>
            <a:ext cx="11376024" cy="6039698"/>
          </a:xfrm>
          <a:prstGeom prst="rect">
            <a:avLst/>
          </a:prstGeom>
          <a:solidFill>
            <a:schemeClr val="tx2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ctr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cs-CZ" sz="1400" dirty="0">
              <a:solidFill>
                <a:schemeClr val="bg1"/>
              </a:solidFill>
            </a:endParaRPr>
          </a:p>
        </p:txBody>
      </p:sp>
      <p:sp>
        <p:nvSpPr>
          <p:cNvPr id="5" name="Zástupný text 20">
            <a:extLst>
              <a:ext uri="{FF2B5EF4-FFF2-40B4-BE49-F238E27FC236}">
                <a16:creationId xmlns:a16="http://schemas.microsoft.com/office/drawing/2014/main" id="{F6C0F4D3-5EDB-419E-A8E6-1B447BF3FC6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9416" y="764768"/>
            <a:ext cx="10512797" cy="576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cs-CZ"/>
              <a:t>Titulek SemiBold 36</a:t>
            </a:r>
          </a:p>
        </p:txBody>
      </p:sp>
      <p:sp>
        <p:nvSpPr>
          <p:cNvPr id="7" name="Zástupný text 3">
            <a:extLst>
              <a:ext uri="{FF2B5EF4-FFF2-40B4-BE49-F238E27FC236}">
                <a16:creationId xmlns:a16="http://schemas.microsoft.com/office/drawing/2014/main" id="{7995F1F8-0381-4379-8459-DA94E6060E2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43897" y="1692046"/>
            <a:ext cx="4820303" cy="36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800" u="sng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cs-CZ"/>
              <a:t>Doplňkový titulek Regular 18 Underlined</a:t>
            </a:r>
          </a:p>
        </p:txBody>
      </p:sp>
      <p:sp>
        <p:nvSpPr>
          <p:cNvPr id="16" name="Zástupný symbol pro číslo snímku 2">
            <a:extLst>
              <a:ext uri="{FF2B5EF4-FFF2-40B4-BE49-F238E27FC236}">
                <a16:creationId xmlns:a16="http://schemas.microsoft.com/office/drawing/2014/main" id="{B9E3D326-5370-4A92-A89B-E96221EB41A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40000" y="6551999"/>
            <a:ext cx="4320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900">
                <a:solidFill>
                  <a:schemeClr val="tx1"/>
                </a:solidFill>
                <a:latin typeface="+mj-lt"/>
              </a:defRPr>
            </a:lvl1pPr>
          </a:lstStyle>
          <a:p>
            <a:fld id="{46545F21-C657-4764-B5B2-92A02BE34E1E}" type="slidenum">
              <a:rPr lang="cs-CZ" smtClean="0"/>
              <a:pPr/>
              <a:t>‹#›</a:t>
            </a:fld>
            <a:endParaRPr lang="cs-CZ">
              <a:latin typeface="+mj-lt"/>
            </a:endParaRP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EF8C060C-46B7-4BF0-BF70-A2A8046939A1}"/>
              </a:ext>
            </a:extLst>
          </p:cNvPr>
          <p:cNvSpPr txBox="1"/>
          <p:nvPr userDrawn="1"/>
        </p:nvSpPr>
        <p:spPr>
          <a:xfrm>
            <a:off x="9864000" y="6593500"/>
            <a:ext cx="1129052" cy="138499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 algn="r"/>
            <a:r>
              <a:rPr lang="cs-CZ" sz="900" b="1">
                <a:solidFill>
                  <a:schemeClr val="tx1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gasnet.cz</a:t>
            </a:r>
            <a:endParaRPr lang="cs-CZ" sz="900" b="1" dirty="0">
              <a:solidFill>
                <a:schemeClr val="tx1"/>
              </a:solidFill>
              <a:latin typeface="Segoe UI Semibold" panose="020B0502040204020203" pitchFamily="34" charset="0"/>
              <a:cs typeface="Segoe UI Semibold" panose="020B0502040204020203" pitchFamily="34" charset="0"/>
            </a:endParaRPr>
          </a:p>
        </p:txBody>
      </p:sp>
      <p:sp>
        <p:nvSpPr>
          <p:cNvPr id="20" name="Zástupný obsah 19">
            <a:extLst>
              <a:ext uri="{FF2B5EF4-FFF2-40B4-BE49-F238E27FC236}">
                <a16:creationId xmlns:a16="http://schemas.microsoft.com/office/drawing/2014/main" id="{F9E27186-5C93-4137-BFBD-8A17A33683DB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839789" y="2264860"/>
            <a:ext cx="4824412" cy="2316267"/>
          </a:xfrm>
          <a:prstGeom prst="rect">
            <a:avLst/>
          </a:prstGeom>
        </p:spPr>
        <p:txBody>
          <a:bodyPr lIns="0" tIns="0" rIns="0" bIns="0" numCol="1" spcCol="720000">
            <a:noAutofit/>
          </a:bodyPr>
          <a:lstStyle>
            <a:lvl1pPr marL="0" indent="0">
              <a:spcBef>
                <a:spcPts val="0"/>
              </a:spcBef>
              <a:spcAft>
                <a:spcPts val="400"/>
              </a:spcAft>
              <a:buFontTx/>
              <a:buNone/>
              <a:defRPr sz="1400" b="0">
                <a:solidFill>
                  <a:schemeClr val="bg1"/>
                </a:solidFill>
                <a:latin typeface="+mn-lt"/>
              </a:defRPr>
            </a:lvl1pPr>
            <a:lvl2pPr marL="288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400" b="0">
                <a:solidFill>
                  <a:schemeClr val="bg1"/>
                </a:solidFill>
                <a:latin typeface="+mn-lt"/>
              </a:defRPr>
            </a:lvl2pPr>
            <a:lvl3pPr marL="576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 b="0">
                <a:solidFill>
                  <a:schemeClr val="bg1"/>
                </a:solidFill>
                <a:latin typeface="+mn-lt"/>
              </a:defRPr>
            </a:lvl3pPr>
            <a:lvl4pPr marL="576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400" b="0">
                <a:latin typeface="+mn-lt"/>
              </a:defRPr>
            </a:lvl4pPr>
            <a:lvl5pPr marL="576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 b="0">
                <a:latin typeface="+mn-lt"/>
              </a:defRPr>
            </a:lvl5pPr>
          </a:lstStyle>
          <a:p>
            <a:pPr lvl="0"/>
            <a:r>
              <a:rPr lang="cs-CZ"/>
              <a:t>První úroveň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</p:txBody>
      </p:sp>
      <p:sp>
        <p:nvSpPr>
          <p:cNvPr id="13" name="Zástupný text 3">
            <a:extLst>
              <a:ext uri="{FF2B5EF4-FFF2-40B4-BE49-F238E27FC236}">
                <a16:creationId xmlns:a16="http://schemas.microsoft.com/office/drawing/2014/main" id="{D0CF5293-90F7-4AA4-944F-0EF59A744B1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31910" y="1692046"/>
            <a:ext cx="4820303" cy="36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800" u="sng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cs-CZ"/>
              <a:t>Doplňkový titulek Regular 18 Underlined</a:t>
            </a:r>
          </a:p>
        </p:txBody>
      </p:sp>
      <p:sp>
        <p:nvSpPr>
          <p:cNvPr id="15" name="Zástupný obsah 19">
            <a:extLst>
              <a:ext uri="{FF2B5EF4-FFF2-40B4-BE49-F238E27FC236}">
                <a16:creationId xmlns:a16="http://schemas.microsoft.com/office/drawing/2014/main" id="{C7C23A5C-AFE2-44B8-8B73-DAB454A07EE8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529855" y="2264860"/>
            <a:ext cx="4824412" cy="2316267"/>
          </a:xfrm>
          <a:prstGeom prst="rect">
            <a:avLst/>
          </a:prstGeom>
        </p:spPr>
        <p:txBody>
          <a:bodyPr lIns="0" tIns="0" rIns="0" bIns="0" numCol="1" spcCol="720000">
            <a:noAutofit/>
          </a:bodyPr>
          <a:lstStyle>
            <a:lvl1pPr marL="0" indent="0">
              <a:spcBef>
                <a:spcPts val="0"/>
              </a:spcBef>
              <a:spcAft>
                <a:spcPts val="400"/>
              </a:spcAft>
              <a:buFontTx/>
              <a:buNone/>
              <a:defRPr sz="1400" b="0">
                <a:solidFill>
                  <a:schemeClr val="bg1"/>
                </a:solidFill>
                <a:latin typeface="+mn-lt"/>
              </a:defRPr>
            </a:lvl1pPr>
            <a:lvl2pPr marL="288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400" b="0">
                <a:solidFill>
                  <a:schemeClr val="bg1"/>
                </a:solidFill>
                <a:latin typeface="+mn-lt"/>
              </a:defRPr>
            </a:lvl2pPr>
            <a:lvl3pPr marL="576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 b="0">
                <a:solidFill>
                  <a:schemeClr val="bg1"/>
                </a:solidFill>
                <a:latin typeface="+mn-lt"/>
              </a:defRPr>
            </a:lvl3pPr>
            <a:lvl4pPr marL="576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400" b="0">
                <a:latin typeface="+mn-lt"/>
              </a:defRPr>
            </a:lvl4pPr>
            <a:lvl5pPr marL="576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 b="0">
                <a:latin typeface="+mn-lt"/>
              </a:defRPr>
            </a:lvl5pPr>
          </a:lstStyle>
          <a:p>
            <a:pPr lvl="0"/>
            <a:r>
              <a:rPr lang="cs-CZ"/>
              <a:t>První úroveň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</p:txBody>
      </p:sp>
      <p:sp>
        <p:nvSpPr>
          <p:cNvPr id="12" name="Zástupný text 22">
            <a:extLst>
              <a:ext uri="{FF2B5EF4-FFF2-40B4-BE49-F238E27FC236}">
                <a16:creationId xmlns:a16="http://schemas.microsoft.com/office/drawing/2014/main" id="{C86BD9B6-6DD9-46C9-A820-98F9745696F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39788" y="4873400"/>
            <a:ext cx="4824784" cy="1208326"/>
          </a:xfrm>
          <a:prstGeom prst="rect">
            <a:avLst/>
          </a:prstGeom>
          <a:solidFill>
            <a:schemeClr val="bg1"/>
          </a:solidFill>
        </p:spPr>
        <p:txBody>
          <a:bodyPr lIns="360000" tIns="288000" rIns="360000" bIns="360000">
            <a:spAutoFit/>
          </a:bodyPr>
          <a:lstStyle>
            <a:lvl1pPr marL="0" indent="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None/>
              <a:defRPr sz="1800">
                <a:solidFill>
                  <a:schemeClr val="tx2"/>
                </a:solidFill>
              </a:defRPr>
            </a:lvl1pPr>
            <a:lvl2pPr marL="288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"/>
              <a:defRPr sz="1800">
                <a:solidFill>
                  <a:schemeClr val="bg1"/>
                </a:solidFill>
              </a:defRPr>
            </a:lvl2pPr>
            <a:lvl3pPr marL="288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800">
                <a:solidFill>
                  <a:schemeClr val="bg1"/>
                </a:solidFill>
              </a:defRPr>
            </a:lvl3pPr>
            <a:lvl4pPr marL="288000" indent="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None/>
              <a:defRPr sz="1800" b="0">
                <a:solidFill>
                  <a:schemeClr val="bg1"/>
                </a:solidFill>
              </a:defRPr>
            </a:lvl4pPr>
            <a:lvl5pPr marL="288000" indent="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cs-CZ"/>
              <a:t>Tento rámeček má variabilní velikost </a:t>
            </a:r>
            <a:br>
              <a:rPr lang="cs-CZ"/>
            </a:br>
            <a:r>
              <a:rPr lang="cs-CZ"/>
              <a:t>a slouží ke zvýraznění informace v textu.</a:t>
            </a:r>
          </a:p>
        </p:txBody>
      </p:sp>
      <p:sp>
        <p:nvSpPr>
          <p:cNvPr id="18" name="Zástupný text 22">
            <a:extLst>
              <a:ext uri="{FF2B5EF4-FFF2-40B4-BE49-F238E27FC236}">
                <a16:creationId xmlns:a16="http://schemas.microsoft.com/office/drawing/2014/main" id="{6D8CD71F-C54B-4B56-A69D-6C041F1A7C3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529669" y="4873400"/>
            <a:ext cx="4824784" cy="1208326"/>
          </a:xfrm>
          <a:prstGeom prst="rect">
            <a:avLst/>
          </a:prstGeom>
          <a:solidFill>
            <a:schemeClr val="bg1"/>
          </a:solidFill>
        </p:spPr>
        <p:txBody>
          <a:bodyPr lIns="360000" tIns="288000" rIns="360000" bIns="360000">
            <a:spAutoFit/>
          </a:bodyPr>
          <a:lstStyle>
            <a:lvl1pPr marL="0" indent="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None/>
              <a:defRPr sz="1800">
                <a:solidFill>
                  <a:schemeClr val="tx2"/>
                </a:solidFill>
              </a:defRPr>
            </a:lvl1pPr>
            <a:lvl2pPr marL="288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"/>
              <a:defRPr sz="1800">
                <a:solidFill>
                  <a:schemeClr val="bg1"/>
                </a:solidFill>
              </a:defRPr>
            </a:lvl2pPr>
            <a:lvl3pPr marL="288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800">
                <a:solidFill>
                  <a:schemeClr val="bg1"/>
                </a:solidFill>
              </a:defRPr>
            </a:lvl3pPr>
            <a:lvl4pPr marL="288000" indent="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None/>
              <a:defRPr sz="1800" b="0">
                <a:solidFill>
                  <a:schemeClr val="bg1"/>
                </a:solidFill>
              </a:defRPr>
            </a:lvl4pPr>
            <a:lvl5pPr marL="288000" indent="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None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cs-CZ"/>
              <a:t>Tento rámeček má variabilní velikost </a:t>
            </a:r>
            <a:br>
              <a:rPr lang="cs-CZ"/>
            </a:br>
            <a:r>
              <a:rPr lang="cs-CZ"/>
              <a:t>a slouží ke zvýraznění informace v textu.</a:t>
            </a:r>
          </a:p>
        </p:txBody>
      </p:sp>
      <p:pic>
        <p:nvPicPr>
          <p:cNvPr id="19" name="Obrázek 18">
            <a:extLst>
              <a:ext uri="{FF2B5EF4-FFF2-40B4-BE49-F238E27FC236}">
                <a16:creationId xmlns:a16="http://schemas.microsoft.com/office/drawing/2014/main" id="{20BABEF2-A347-477D-B26D-FE90CE89B65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07368" y="6551539"/>
            <a:ext cx="216000" cy="201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858521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ozložení 0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délník 1">
            <a:extLst>
              <a:ext uri="{FF2B5EF4-FFF2-40B4-BE49-F238E27FC236}">
                <a16:creationId xmlns:a16="http://schemas.microsoft.com/office/drawing/2014/main" id="{1B93E936-06F7-4ACF-BA3B-1B908FB0ED86}"/>
              </a:ext>
            </a:extLst>
          </p:cNvPr>
          <p:cNvSpPr/>
          <p:nvPr userDrawn="1"/>
        </p:nvSpPr>
        <p:spPr bwMode="gray">
          <a:xfrm>
            <a:off x="407988" y="413490"/>
            <a:ext cx="11376024" cy="6039698"/>
          </a:xfrm>
          <a:prstGeom prst="rect">
            <a:avLst/>
          </a:prstGeom>
          <a:solidFill>
            <a:schemeClr val="tx2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ctr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cs-CZ" sz="1400" dirty="0">
              <a:solidFill>
                <a:schemeClr val="bg1"/>
              </a:solidFill>
            </a:endParaRPr>
          </a:p>
        </p:txBody>
      </p:sp>
      <p:sp>
        <p:nvSpPr>
          <p:cNvPr id="5" name="Zástupný text 20">
            <a:extLst>
              <a:ext uri="{FF2B5EF4-FFF2-40B4-BE49-F238E27FC236}">
                <a16:creationId xmlns:a16="http://schemas.microsoft.com/office/drawing/2014/main" id="{F6C0F4D3-5EDB-419E-A8E6-1B447BF3FC6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9416" y="764768"/>
            <a:ext cx="10512797" cy="576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cs-CZ"/>
              <a:t>Titulek SemiBold 36</a:t>
            </a:r>
          </a:p>
        </p:txBody>
      </p:sp>
      <p:sp>
        <p:nvSpPr>
          <p:cNvPr id="7" name="Zástupný text 3">
            <a:extLst>
              <a:ext uri="{FF2B5EF4-FFF2-40B4-BE49-F238E27FC236}">
                <a16:creationId xmlns:a16="http://schemas.microsoft.com/office/drawing/2014/main" id="{7995F1F8-0381-4379-8459-DA94E6060E2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43897" y="1692046"/>
            <a:ext cx="3163871" cy="360000"/>
          </a:xfrm>
          <a:prstGeom prst="rect">
            <a:avLst/>
          </a:prstGeom>
        </p:spPr>
        <p:txBody>
          <a:bodyPr lIns="0" tIns="0" rIns="0" bIns="0" numCol="1"/>
          <a:lstStyle>
            <a:lvl1pPr marL="0" indent="0">
              <a:spcBef>
                <a:spcPts val="0"/>
              </a:spcBef>
              <a:buNone/>
              <a:defRPr sz="1400" b="1" u="sng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cs-CZ"/>
              <a:t>Titulek Regular 14 Underlined, tučně</a:t>
            </a:r>
          </a:p>
        </p:txBody>
      </p:sp>
      <p:sp>
        <p:nvSpPr>
          <p:cNvPr id="16" name="Zástupný symbol pro číslo snímku 2">
            <a:extLst>
              <a:ext uri="{FF2B5EF4-FFF2-40B4-BE49-F238E27FC236}">
                <a16:creationId xmlns:a16="http://schemas.microsoft.com/office/drawing/2014/main" id="{B9E3D326-5370-4A92-A89B-E96221EB41A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40000" y="6551999"/>
            <a:ext cx="4320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900">
                <a:solidFill>
                  <a:schemeClr val="tx1"/>
                </a:solidFill>
                <a:latin typeface="+mj-lt"/>
              </a:defRPr>
            </a:lvl1pPr>
          </a:lstStyle>
          <a:p>
            <a:fld id="{46545F21-C657-4764-B5B2-92A02BE34E1E}" type="slidenum">
              <a:rPr lang="cs-CZ" smtClean="0"/>
              <a:pPr/>
              <a:t>‹#›</a:t>
            </a:fld>
            <a:endParaRPr lang="cs-CZ">
              <a:latin typeface="+mj-lt"/>
            </a:endParaRP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EF8C060C-46B7-4BF0-BF70-A2A8046939A1}"/>
              </a:ext>
            </a:extLst>
          </p:cNvPr>
          <p:cNvSpPr txBox="1"/>
          <p:nvPr userDrawn="1"/>
        </p:nvSpPr>
        <p:spPr>
          <a:xfrm>
            <a:off x="9864000" y="6593500"/>
            <a:ext cx="1129052" cy="138499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 algn="r"/>
            <a:r>
              <a:rPr lang="cs-CZ" sz="900" b="1">
                <a:solidFill>
                  <a:schemeClr val="tx1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gasnet.cz</a:t>
            </a:r>
            <a:endParaRPr lang="cs-CZ" sz="900" b="1" dirty="0">
              <a:solidFill>
                <a:schemeClr val="tx1"/>
              </a:solidFill>
              <a:latin typeface="Segoe UI Semibold" panose="020B0502040204020203" pitchFamily="34" charset="0"/>
              <a:cs typeface="Segoe UI Semibold" panose="020B0502040204020203" pitchFamily="34" charset="0"/>
            </a:endParaRPr>
          </a:p>
        </p:txBody>
      </p:sp>
      <p:sp>
        <p:nvSpPr>
          <p:cNvPr id="20" name="Zástupný obsah 19">
            <a:extLst>
              <a:ext uri="{FF2B5EF4-FFF2-40B4-BE49-F238E27FC236}">
                <a16:creationId xmlns:a16="http://schemas.microsoft.com/office/drawing/2014/main" id="{F9E27186-5C93-4137-BFBD-8A17A33683DB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839789" y="2164340"/>
            <a:ext cx="3163871" cy="3928892"/>
          </a:xfrm>
          <a:prstGeom prst="rect">
            <a:avLst/>
          </a:prstGeom>
        </p:spPr>
        <p:txBody>
          <a:bodyPr lIns="0" tIns="0" rIns="0" bIns="0" numCol="1" spcCol="720000">
            <a:noAutofit/>
          </a:bodyPr>
          <a:lstStyle>
            <a:lvl1pPr marL="0" indent="0">
              <a:spcBef>
                <a:spcPts val="0"/>
              </a:spcBef>
              <a:spcAft>
                <a:spcPts val="400"/>
              </a:spcAft>
              <a:buFontTx/>
              <a:buNone/>
              <a:defRPr sz="1400" b="0">
                <a:solidFill>
                  <a:schemeClr val="bg1"/>
                </a:solidFill>
                <a:latin typeface="+mn-lt"/>
              </a:defRPr>
            </a:lvl1pPr>
            <a:lvl2pPr marL="288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400" b="0">
                <a:solidFill>
                  <a:schemeClr val="bg1"/>
                </a:solidFill>
                <a:latin typeface="+mn-lt"/>
              </a:defRPr>
            </a:lvl2pPr>
            <a:lvl3pPr marL="576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 b="0">
                <a:solidFill>
                  <a:schemeClr val="bg1"/>
                </a:solidFill>
                <a:latin typeface="+mn-lt"/>
              </a:defRPr>
            </a:lvl3pPr>
            <a:lvl4pPr marL="576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400" b="0">
                <a:latin typeface="+mn-lt"/>
              </a:defRPr>
            </a:lvl4pPr>
            <a:lvl5pPr marL="576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 b="0">
                <a:latin typeface="+mn-lt"/>
              </a:defRPr>
            </a:lvl5pPr>
          </a:lstStyle>
          <a:p>
            <a:pPr lvl="0"/>
            <a:r>
              <a:rPr lang="cs-CZ"/>
              <a:t>První úroveň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</p:txBody>
      </p:sp>
      <p:sp>
        <p:nvSpPr>
          <p:cNvPr id="24" name="Zástupný text 3">
            <a:extLst>
              <a:ext uri="{FF2B5EF4-FFF2-40B4-BE49-F238E27FC236}">
                <a16:creationId xmlns:a16="http://schemas.microsoft.com/office/drawing/2014/main" id="{64F1152D-AFC3-4C42-AC4C-B328E16FEC6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14064" y="1692046"/>
            <a:ext cx="3163871" cy="360000"/>
          </a:xfrm>
          <a:prstGeom prst="rect">
            <a:avLst/>
          </a:prstGeom>
        </p:spPr>
        <p:txBody>
          <a:bodyPr lIns="0" tIns="0" rIns="0" bIns="0" numCol="1"/>
          <a:lstStyle>
            <a:lvl1pPr marL="0" indent="0">
              <a:spcBef>
                <a:spcPts val="0"/>
              </a:spcBef>
              <a:buNone/>
              <a:defRPr sz="1400" b="1" u="sng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cs-CZ"/>
              <a:t>Titulek Regular 14 Underlined, tučně</a:t>
            </a:r>
          </a:p>
        </p:txBody>
      </p:sp>
      <p:sp>
        <p:nvSpPr>
          <p:cNvPr id="25" name="Zástupný obsah 19">
            <a:extLst>
              <a:ext uri="{FF2B5EF4-FFF2-40B4-BE49-F238E27FC236}">
                <a16:creationId xmlns:a16="http://schemas.microsoft.com/office/drawing/2014/main" id="{1D6EB088-0185-4945-99A2-6CAD6F8DD9C2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4509956" y="2164340"/>
            <a:ext cx="3163871" cy="3928892"/>
          </a:xfrm>
          <a:prstGeom prst="rect">
            <a:avLst/>
          </a:prstGeom>
        </p:spPr>
        <p:txBody>
          <a:bodyPr lIns="0" tIns="0" rIns="0" bIns="0" numCol="1" spcCol="720000">
            <a:noAutofit/>
          </a:bodyPr>
          <a:lstStyle>
            <a:lvl1pPr marL="0" indent="0">
              <a:spcBef>
                <a:spcPts val="0"/>
              </a:spcBef>
              <a:spcAft>
                <a:spcPts val="400"/>
              </a:spcAft>
              <a:buFontTx/>
              <a:buNone/>
              <a:defRPr sz="1400" b="0">
                <a:solidFill>
                  <a:schemeClr val="bg1"/>
                </a:solidFill>
                <a:latin typeface="+mn-lt"/>
              </a:defRPr>
            </a:lvl1pPr>
            <a:lvl2pPr marL="288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400" b="0">
                <a:solidFill>
                  <a:schemeClr val="bg1"/>
                </a:solidFill>
                <a:latin typeface="+mn-lt"/>
              </a:defRPr>
            </a:lvl2pPr>
            <a:lvl3pPr marL="576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 b="0">
                <a:solidFill>
                  <a:schemeClr val="bg1"/>
                </a:solidFill>
                <a:latin typeface="+mn-lt"/>
              </a:defRPr>
            </a:lvl3pPr>
            <a:lvl4pPr marL="576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400" b="0">
                <a:latin typeface="+mn-lt"/>
              </a:defRPr>
            </a:lvl4pPr>
            <a:lvl5pPr marL="576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 b="0">
                <a:latin typeface="+mn-lt"/>
              </a:defRPr>
            </a:lvl5pPr>
          </a:lstStyle>
          <a:p>
            <a:pPr lvl="0"/>
            <a:r>
              <a:rPr lang="cs-CZ"/>
              <a:t>První úroveň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</p:txBody>
      </p:sp>
      <p:sp>
        <p:nvSpPr>
          <p:cNvPr id="26" name="Zástupný text 3">
            <a:extLst>
              <a:ext uri="{FF2B5EF4-FFF2-40B4-BE49-F238E27FC236}">
                <a16:creationId xmlns:a16="http://schemas.microsoft.com/office/drawing/2014/main" id="{04BF35F7-D4B0-4F7C-B8B6-216C90A51DC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188342" y="1692046"/>
            <a:ext cx="3163871" cy="360000"/>
          </a:xfrm>
          <a:prstGeom prst="rect">
            <a:avLst/>
          </a:prstGeom>
        </p:spPr>
        <p:txBody>
          <a:bodyPr lIns="0" tIns="0" rIns="0" bIns="0" numCol="1"/>
          <a:lstStyle>
            <a:lvl1pPr marL="0" indent="0">
              <a:spcBef>
                <a:spcPts val="0"/>
              </a:spcBef>
              <a:buNone/>
              <a:defRPr sz="1400" b="1" u="sng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cs-CZ"/>
              <a:t>Titulek Regular 14 Underlined, tučně</a:t>
            </a:r>
          </a:p>
        </p:txBody>
      </p:sp>
      <p:sp>
        <p:nvSpPr>
          <p:cNvPr id="27" name="Zástupný obsah 19">
            <a:extLst>
              <a:ext uri="{FF2B5EF4-FFF2-40B4-BE49-F238E27FC236}">
                <a16:creationId xmlns:a16="http://schemas.microsoft.com/office/drawing/2014/main" id="{BE82FAFB-0342-4766-A16D-624FEB0DF08B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8184234" y="2164340"/>
            <a:ext cx="3163871" cy="3928892"/>
          </a:xfrm>
          <a:prstGeom prst="rect">
            <a:avLst/>
          </a:prstGeom>
        </p:spPr>
        <p:txBody>
          <a:bodyPr lIns="0" tIns="0" rIns="0" bIns="0" numCol="1" spcCol="720000">
            <a:noAutofit/>
          </a:bodyPr>
          <a:lstStyle>
            <a:lvl1pPr marL="0" indent="0">
              <a:spcBef>
                <a:spcPts val="0"/>
              </a:spcBef>
              <a:spcAft>
                <a:spcPts val="400"/>
              </a:spcAft>
              <a:buFontTx/>
              <a:buNone/>
              <a:defRPr sz="1400" b="0">
                <a:solidFill>
                  <a:schemeClr val="bg1"/>
                </a:solidFill>
                <a:latin typeface="+mn-lt"/>
              </a:defRPr>
            </a:lvl1pPr>
            <a:lvl2pPr marL="288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400" b="0">
                <a:solidFill>
                  <a:schemeClr val="bg1"/>
                </a:solidFill>
                <a:latin typeface="+mn-lt"/>
              </a:defRPr>
            </a:lvl2pPr>
            <a:lvl3pPr marL="576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 b="0">
                <a:solidFill>
                  <a:schemeClr val="bg1"/>
                </a:solidFill>
                <a:latin typeface="+mn-lt"/>
              </a:defRPr>
            </a:lvl3pPr>
            <a:lvl4pPr marL="576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400" b="0">
                <a:latin typeface="+mn-lt"/>
              </a:defRPr>
            </a:lvl4pPr>
            <a:lvl5pPr marL="576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 b="0">
                <a:latin typeface="+mn-lt"/>
              </a:defRPr>
            </a:lvl5pPr>
          </a:lstStyle>
          <a:p>
            <a:pPr lvl="0"/>
            <a:r>
              <a:rPr lang="cs-CZ"/>
              <a:t>První úroveň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1AFBD0F1-E708-4FA2-95C2-11AAB7D3B73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07368" y="6551539"/>
            <a:ext cx="216000" cy="201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619184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é 0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délník 6">
            <a:extLst>
              <a:ext uri="{FF2B5EF4-FFF2-40B4-BE49-F238E27FC236}">
                <a16:creationId xmlns:a16="http://schemas.microsoft.com/office/drawing/2014/main" id="{4BD3748A-B85A-4E25-9C4F-B801C8408BE8}"/>
              </a:ext>
            </a:extLst>
          </p:cNvPr>
          <p:cNvSpPr/>
          <p:nvPr userDrawn="1"/>
        </p:nvSpPr>
        <p:spPr bwMode="gray">
          <a:xfrm>
            <a:off x="407988" y="404664"/>
            <a:ext cx="11376024" cy="6039698"/>
          </a:xfrm>
          <a:prstGeom prst="rect">
            <a:avLst/>
          </a:prstGeom>
          <a:solidFill>
            <a:schemeClr val="tx2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ctr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cs-CZ" sz="1400" dirty="0">
              <a:solidFill>
                <a:schemeClr val="bg1"/>
              </a:solidFill>
            </a:endParaRPr>
          </a:p>
        </p:txBody>
      </p:sp>
      <p:sp>
        <p:nvSpPr>
          <p:cNvPr id="9" name="Zástupný symbol pro číslo snímku 2">
            <a:extLst>
              <a:ext uri="{FF2B5EF4-FFF2-40B4-BE49-F238E27FC236}">
                <a16:creationId xmlns:a16="http://schemas.microsoft.com/office/drawing/2014/main" id="{2C389A1A-04C6-477D-8A58-483ECD73BAF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40000" y="6551999"/>
            <a:ext cx="4320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900">
                <a:solidFill>
                  <a:schemeClr val="tx1"/>
                </a:solidFill>
                <a:latin typeface="+mj-lt"/>
              </a:defRPr>
            </a:lvl1pPr>
          </a:lstStyle>
          <a:p>
            <a:fld id="{46545F21-C657-4764-B5B2-92A02BE34E1E}" type="slidenum">
              <a:rPr lang="cs-CZ" smtClean="0"/>
              <a:pPr/>
              <a:t>‹#›</a:t>
            </a:fld>
            <a:endParaRPr lang="cs-CZ">
              <a:latin typeface="+mj-lt"/>
            </a:endParaRP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013B3BA4-D21D-4EC9-B535-7A8438A5CE22}"/>
              </a:ext>
            </a:extLst>
          </p:cNvPr>
          <p:cNvSpPr txBox="1"/>
          <p:nvPr userDrawn="1"/>
        </p:nvSpPr>
        <p:spPr>
          <a:xfrm>
            <a:off x="9864000" y="6593500"/>
            <a:ext cx="1129052" cy="138499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 algn="r"/>
            <a:r>
              <a:rPr lang="cs-CZ" sz="900" b="1">
                <a:solidFill>
                  <a:schemeClr val="tx1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gasnet.cz</a:t>
            </a:r>
            <a:endParaRPr lang="cs-CZ" sz="900" b="1" dirty="0">
              <a:solidFill>
                <a:schemeClr val="tx1"/>
              </a:solidFill>
              <a:latin typeface="Segoe UI Semibold" panose="020B0502040204020203" pitchFamily="34" charset="0"/>
              <a:cs typeface="Segoe UI Semibold" panose="020B0502040204020203" pitchFamily="34" charset="0"/>
            </a:endParaRPr>
          </a:p>
        </p:txBody>
      </p:sp>
      <p:pic>
        <p:nvPicPr>
          <p:cNvPr id="6" name="Obrázek 5">
            <a:extLst>
              <a:ext uri="{FF2B5EF4-FFF2-40B4-BE49-F238E27FC236}">
                <a16:creationId xmlns:a16="http://schemas.microsoft.com/office/drawing/2014/main" id="{6A73251E-C4D3-4BC1-BA15-C4E79A59D5C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07368" y="6551539"/>
            <a:ext cx="216000" cy="201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872274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é 0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délník 6">
            <a:extLst>
              <a:ext uri="{FF2B5EF4-FFF2-40B4-BE49-F238E27FC236}">
                <a16:creationId xmlns:a16="http://schemas.microsoft.com/office/drawing/2014/main" id="{4BD3748A-B85A-4E25-9C4F-B801C8408BE8}"/>
              </a:ext>
            </a:extLst>
          </p:cNvPr>
          <p:cNvSpPr/>
          <p:nvPr userDrawn="1"/>
        </p:nvSpPr>
        <p:spPr bwMode="gray">
          <a:xfrm>
            <a:off x="407988" y="404812"/>
            <a:ext cx="11376024" cy="6039549"/>
          </a:xfrm>
          <a:prstGeom prst="rect">
            <a:avLst/>
          </a:prstGeom>
          <a:solidFill>
            <a:schemeClr val="accent4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ctr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cs-CZ" sz="1400" dirty="0">
              <a:solidFill>
                <a:schemeClr val="bg1"/>
              </a:solidFill>
            </a:endParaRPr>
          </a:p>
        </p:txBody>
      </p:sp>
      <p:sp>
        <p:nvSpPr>
          <p:cNvPr id="9" name="Zástupný symbol pro číslo snímku 2">
            <a:extLst>
              <a:ext uri="{FF2B5EF4-FFF2-40B4-BE49-F238E27FC236}">
                <a16:creationId xmlns:a16="http://schemas.microsoft.com/office/drawing/2014/main" id="{2C389A1A-04C6-477D-8A58-483ECD73BAF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40000" y="6551999"/>
            <a:ext cx="4320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900">
                <a:solidFill>
                  <a:schemeClr val="tx1"/>
                </a:solidFill>
                <a:latin typeface="+mj-lt"/>
              </a:defRPr>
            </a:lvl1pPr>
          </a:lstStyle>
          <a:p>
            <a:fld id="{46545F21-C657-4764-B5B2-92A02BE34E1E}" type="slidenum">
              <a:rPr lang="cs-CZ" smtClean="0"/>
              <a:pPr/>
              <a:t>‹#›</a:t>
            </a:fld>
            <a:endParaRPr lang="cs-CZ">
              <a:latin typeface="+mj-lt"/>
            </a:endParaRP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013B3BA4-D21D-4EC9-B535-7A8438A5CE22}"/>
              </a:ext>
            </a:extLst>
          </p:cNvPr>
          <p:cNvSpPr txBox="1"/>
          <p:nvPr userDrawn="1"/>
        </p:nvSpPr>
        <p:spPr>
          <a:xfrm>
            <a:off x="9864000" y="6593500"/>
            <a:ext cx="1129052" cy="138499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 algn="r"/>
            <a:r>
              <a:rPr lang="cs-CZ" sz="900" b="1">
                <a:solidFill>
                  <a:schemeClr val="tx1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gasnet.cz</a:t>
            </a:r>
            <a:endParaRPr lang="cs-CZ" sz="900" b="1" dirty="0">
              <a:solidFill>
                <a:schemeClr val="tx1"/>
              </a:solidFill>
              <a:latin typeface="Segoe UI Semibold" panose="020B0502040204020203" pitchFamily="34" charset="0"/>
              <a:cs typeface="Segoe UI Semibold" panose="020B0502040204020203" pitchFamily="34" charset="0"/>
            </a:endParaRPr>
          </a:p>
        </p:txBody>
      </p:sp>
      <p:pic>
        <p:nvPicPr>
          <p:cNvPr id="6" name="Obrázek 5">
            <a:extLst>
              <a:ext uri="{FF2B5EF4-FFF2-40B4-BE49-F238E27FC236}">
                <a16:creationId xmlns:a16="http://schemas.microsoft.com/office/drawing/2014/main" id="{93A2C2A8-EB10-4496-981A-106876CD2B4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07368" y="6551539"/>
            <a:ext cx="216000" cy="201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998151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fy a tabulk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délník 6">
            <a:extLst>
              <a:ext uri="{FF2B5EF4-FFF2-40B4-BE49-F238E27FC236}">
                <a16:creationId xmlns:a16="http://schemas.microsoft.com/office/drawing/2014/main" id="{4BD3748A-B85A-4E25-9C4F-B801C8408BE8}"/>
              </a:ext>
            </a:extLst>
          </p:cNvPr>
          <p:cNvSpPr/>
          <p:nvPr userDrawn="1"/>
        </p:nvSpPr>
        <p:spPr bwMode="gray">
          <a:xfrm>
            <a:off x="407988" y="404812"/>
            <a:ext cx="11376024" cy="6039549"/>
          </a:xfrm>
          <a:prstGeom prst="rect">
            <a:avLst/>
          </a:prstGeom>
          <a:solidFill>
            <a:schemeClr val="accent4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ctr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cs-CZ" sz="1400" dirty="0">
              <a:solidFill>
                <a:schemeClr val="bg1"/>
              </a:solidFill>
            </a:endParaRPr>
          </a:p>
        </p:txBody>
      </p:sp>
      <p:sp>
        <p:nvSpPr>
          <p:cNvPr id="9" name="Zástupný symbol pro číslo snímku 2">
            <a:extLst>
              <a:ext uri="{FF2B5EF4-FFF2-40B4-BE49-F238E27FC236}">
                <a16:creationId xmlns:a16="http://schemas.microsoft.com/office/drawing/2014/main" id="{2C389A1A-04C6-477D-8A58-483ECD73BAF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40000" y="6551999"/>
            <a:ext cx="4320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900">
                <a:solidFill>
                  <a:schemeClr val="tx1"/>
                </a:solidFill>
                <a:latin typeface="+mj-lt"/>
              </a:defRPr>
            </a:lvl1pPr>
          </a:lstStyle>
          <a:p>
            <a:fld id="{46545F21-C657-4764-B5B2-92A02BE34E1E}" type="slidenum">
              <a:rPr lang="cs-CZ" smtClean="0"/>
              <a:pPr/>
              <a:t>‹#›</a:t>
            </a:fld>
            <a:endParaRPr lang="cs-CZ">
              <a:latin typeface="+mj-lt"/>
            </a:endParaRP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013B3BA4-D21D-4EC9-B535-7A8438A5CE22}"/>
              </a:ext>
            </a:extLst>
          </p:cNvPr>
          <p:cNvSpPr txBox="1"/>
          <p:nvPr userDrawn="1"/>
        </p:nvSpPr>
        <p:spPr>
          <a:xfrm>
            <a:off x="9864000" y="6593500"/>
            <a:ext cx="1129052" cy="138499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 algn="r"/>
            <a:r>
              <a:rPr lang="cs-CZ" sz="900" b="1">
                <a:solidFill>
                  <a:schemeClr val="tx1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gasnet.cz</a:t>
            </a:r>
            <a:endParaRPr lang="cs-CZ" sz="900" b="1" dirty="0">
              <a:solidFill>
                <a:schemeClr val="tx1"/>
              </a:solidFill>
              <a:latin typeface="Segoe UI Semibold" panose="020B0502040204020203" pitchFamily="34" charset="0"/>
              <a:cs typeface="Segoe UI Semibold" panose="020B0502040204020203" pitchFamily="34" charset="0"/>
            </a:endParaRPr>
          </a:p>
        </p:txBody>
      </p:sp>
      <p:sp>
        <p:nvSpPr>
          <p:cNvPr id="6" name="Zástupný text 20">
            <a:extLst>
              <a:ext uri="{FF2B5EF4-FFF2-40B4-BE49-F238E27FC236}">
                <a16:creationId xmlns:a16="http://schemas.microsoft.com/office/drawing/2014/main" id="{DAC0A7D4-D0FB-4AE8-B6F3-A6CDB6A5400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9416" y="764768"/>
            <a:ext cx="10512797" cy="576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cs-CZ"/>
              <a:t>Titulek SemiBold 36</a:t>
            </a:r>
          </a:p>
        </p:txBody>
      </p:sp>
      <p:sp>
        <p:nvSpPr>
          <p:cNvPr id="12" name="Zástupný obsah 19">
            <a:extLst>
              <a:ext uri="{FF2B5EF4-FFF2-40B4-BE49-F238E27FC236}">
                <a16:creationId xmlns:a16="http://schemas.microsoft.com/office/drawing/2014/main" id="{95E6241B-8248-4A5F-9EE5-9A4BB60A2175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839788" y="1700724"/>
            <a:ext cx="4824412" cy="1236148"/>
          </a:xfrm>
          <a:prstGeom prst="rect">
            <a:avLst/>
          </a:prstGeom>
        </p:spPr>
        <p:txBody>
          <a:bodyPr lIns="0" tIns="0" rIns="0" bIns="0" numCol="1" spcCol="720000">
            <a:noAutofit/>
          </a:bodyPr>
          <a:lstStyle>
            <a:lvl1pPr marL="0" indent="0">
              <a:spcBef>
                <a:spcPts val="0"/>
              </a:spcBef>
              <a:spcAft>
                <a:spcPts val="400"/>
              </a:spcAft>
              <a:buFontTx/>
              <a:buNone/>
              <a:defRPr sz="1400" b="0">
                <a:latin typeface="+mn-lt"/>
              </a:defRPr>
            </a:lvl1pPr>
            <a:lvl2pPr marL="288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400" b="0">
                <a:latin typeface="+mn-lt"/>
              </a:defRPr>
            </a:lvl2pPr>
            <a:lvl3pPr marL="576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 b="0">
                <a:latin typeface="+mn-lt"/>
              </a:defRPr>
            </a:lvl3pPr>
            <a:lvl4pPr marL="576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400" b="0">
                <a:latin typeface="+mn-lt"/>
              </a:defRPr>
            </a:lvl4pPr>
            <a:lvl5pPr marL="576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 b="0">
                <a:latin typeface="+mn-lt"/>
              </a:defRPr>
            </a:lvl5pPr>
          </a:lstStyle>
          <a:p>
            <a:pPr lvl="0"/>
            <a:r>
              <a:rPr lang="cs-CZ"/>
              <a:t>První úroveň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</p:txBody>
      </p:sp>
      <p:sp>
        <p:nvSpPr>
          <p:cNvPr id="13" name="Zástupný obsah 19">
            <a:extLst>
              <a:ext uri="{FF2B5EF4-FFF2-40B4-BE49-F238E27FC236}">
                <a16:creationId xmlns:a16="http://schemas.microsoft.com/office/drawing/2014/main" id="{4A4824F0-1D0E-4F31-997F-AD09C2105169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527802" y="1700724"/>
            <a:ext cx="4824412" cy="1236148"/>
          </a:xfrm>
          <a:prstGeom prst="rect">
            <a:avLst/>
          </a:prstGeom>
        </p:spPr>
        <p:txBody>
          <a:bodyPr lIns="0" tIns="0" rIns="0" bIns="0" numCol="1" spcCol="720000">
            <a:noAutofit/>
          </a:bodyPr>
          <a:lstStyle>
            <a:lvl1pPr marL="0" indent="0">
              <a:spcBef>
                <a:spcPts val="0"/>
              </a:spcBef>
              <a:spcAft>
                <a:spcPts val="400"/>
              </a:spcAft>
              <a:buFontTx/>
              <a:buNone/>
              <a:defRPr sz="1400" b="0">
                <a:latin typeface="+mn-lt"/>
              </a:defRPr>
            </a:lvl1pPr>
            <a:lvl2pPr marL="288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400" b="0">
                <a:latin typeface="+mn-lt"/>
              </a:defRPr>
            </a:lvl2pPr>
            <a:lvl3pPr marL="576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 b="0">
                <a:latin typeface="+mn-lt"/>
              </a:defRPr>
            </a:lvl3pPr>
            <a:lvl4pPr marL="576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400" b="0">
                <a:latin typeface="+mn-lt"/>
              </a:defRPr>
            </a:lvl4pPr>
            <a:lvl5pPr marL="576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 b="0">
                <a:latin typeface="+mn-lt"/>
              </a:defRPr>
            </a:lvl5pPr>
          </a:lstStyle>
          <a:p>
            <a:pPr lvl="0"/>
            <a:r>
              <a:rPr lang="cs-CZ"/>
              <a:t>První úroveň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</p:txBody>
      </p:sp>
      <p:sp>
        <p:nvSpPr>
          <p:cNvPr id="14" name="Zástupný obsah 19">
            <a:extLst>
              <a:ext uri="{FF2B5EF4-FFF2-40B4-BE49-F238E27FC236}">
                <a16:creationId xmlns:a16="http://schemas.microsoft.com/office/drawing/2014/main" id="{69E1530C-DC3D-4E7B-BAA6-71DE460F9997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6528174" y="4072542"/>
            <a:ext cx="4824412" cy="1236148"/>
          </a:xfrm>
          <a:prstGeom prst="rect">
            <a:avLst/>
          </a:prstGeom>
        </p:spPr>
        <p:txBody>
          <a:bodyPr lIns="0" tIns="0" rIns="0" bIns="0" numCol="1" spcCol="720000">
            <a:noAutofit/>
          </a:bodyPr>
          <a:lstStyle>
            <a:lvl1pPr marL="0" indent="0">
              <a:spcBef>
                <a:spcPts val="0"/>
              </a:spcBef>
              <a:spcAft>
                <a:spcPts val="400"/>
              </a:spcAft>
              <a:buFontTx/>
              <a:buNone/>
              <a:defRPr sz="1400" b="0">
                <a:latin typeface="+mn-lt"/>
              </a:defRPr>
            </a:lvl1pPr>
            <a:lvl2pPr marL="288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400" b="0">
                <a:latin typeface="+mn-lt"/>
              </a:defRPr>
            </a:lvl2pPr>
            <a:lvl3pPr marL="576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 b="0">
                <a:latin typeface="+mn-lt"/>
              </a:defRPr>
            </a:lvl3pPr>
            <a:lvl4pPr marL="576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400" b="0">
                <a:latin typeface="+mn-lt"/>
              </a:defRPr>
            </a:lvl4pPr>
            <a:lvl5pPr marL="576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 b="0">
                <a:latin typeface="+mn-lt"/>
              </a:defRPr>
            </a:lvl5pPr>
          </a:lstStyle>
          <a:p>
            <a:pPr lvl="0"/>
            <a:r>
              <a:rPr lang="cs-CZ"/>
              <a:t>První úroveň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</p:txBody>
      </p:sp>
      <p:pic>
        <p:nvPicPr>
          <p:cNvPr id="11" name="Obrázek 10">
            <a:extLst>
              <a:ext uri="{FF2B5EF4-FFF2-40B4-BE49-F238E27FC236}">
                <a16:creationId xmlns:a16="http://schemas.microsoft.com/office/drawing/2014/main" id="{842B4498-AB90-4135-9993-6E66C9D9CCD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07368" y="6551539"/>
            <a:ext cx="216000" cy="201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203136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ní osoba 0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délník 1">
            <a:extLst>
              <a:ext uri="{FF2B5EF4-FFF2-40B4-BE49-F238E27FC236}">
                <a16:creationId xmlns:a16="http://schemas.microsoft.com/office/drawing/2014/main" id="{1B93E936-06F7-4ACF-BA3B-1B908FB0ED86}"/>
              </a:ext>
            </a:extLst>
          </p:cNvPr>
          <p:cNvSpPr/>
          <p:nvPr userDrawn="1"/>
        </p:nvSpPr>
        <p:spPr bwMode="gray">
          <a:xfrm>
            <a:off x="407988" y="413490"/>
            <a:ext cx="11376024" cy="6039698"/>
          </a:xfrm>
          <a:prstGeom prst="rect">
            <a:avLst/>
          </a:prstGeom>
          <a:solidFill>
            <a:schemeClr val="accent4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ctr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cs-CZ" sz="1400" dirty="0">
              <a:solidFill>
                <a:schemeClr val="bg1"/>
              </a:solidFill>
            </a:endParaRPr>
          </a:p>
        </p:txBody>
      </p:sp>
      <p:sp>
        <p:nvSpPr>
          <p:cNvPr id="16" name="Zástupný symbol pro číslo snímku 2">
            <a:extLst>
              <a:ext uri="{FF2B5EF4-FFF2-40B4-BE49-F238E27FC236}">
                <a16:creationId xmlns:a16="http://schemas.microsoft.com/office/drawing/2014/main" id="{B9E3D326-5370-4A92-A89B-E96221EB41A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40000" y="6551999"/>
            <a:ext cx="4320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900">
                <a:solidFill>
                  <a:schemeClr val="tx1"/>
                </a:solidFill>
                <a:latin typeface="+mj-lt"/>
              </a:defRPr>
            </a:lvl1pPr>
          </a:lstStyle>
          <a:p>
            <a:fld id="{46545F21-C657-4764-B5B2-92A02BE34E1E}" type="slidenum">
              <a:rPr lang="cs-CZ" smtClean="0"/>
              <a:pPr/>
              <a:t>‹#›</a:t>
            </a:fld>
            <a:endParaRPr lang="cs-CZ">
              <a:latin typeface="+mj-lt"/>
            </a:endParaRP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EF8C060C-46B7-4BF0-BF70-A2A8046939A1}"/>
              </a:ext>
            </a:extLst>
          </p:cNvPr>
          <p:cNvSpPr txBox="1"/>
          <p:nvPr userDrawn="1"/>
        </p:nvSpPr>
        <p:spPr>
          <a:xfrm>
            <a:off x="9864000" y="6593500"/>
            <a:ext cx="1129052" cy="138499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 algn="r"/>
            <a:r>
              <a:rPr lang="cs-CZ" sz="900" b="1">
                <a:solidFill>
                  <a:schemeClr val="tx1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gasnet.cz</a:t>
            </a:r>
            <a:endParaRPr lang="cs-CZ" sz="900" b="1" dirty="0">
              <a:solidFill>
                <a:schemeClr val="tx1"/>
              </a:solidFill>
              <a:latin typeface="Segoe UI Semibold" panose="020B0502040204020203" pitchFamily="34" charset="0"/>
              <a:cs typeface="Segoe UI Semibold" panose="020B0502040204020203" pitchFamily="34" charset="0"/>
            </a:endParaRPr>
          </a:p>
        </p:txBody>
      </p:sp>
      <p:sp>
        <p:nvSpPr>
          <p:cNvPr id="19" name="Zástupný obsah 19">
            <a:extLst>
              <a:ext uri="{FF2B5EF4-FFF2-40B4-BE49-F238E27FC236}">
                <a16:creationId xmlns:a16="http://schemas.microsoft.com/office/drawing/2014/main" id="{86281210-545F-4DEE-950B-74CBDC3BCB53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839787" y="836613"/>
            <a:ext cx="4824413" cy="525620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spcAft>
                <a:spcPts val="400"/>
              </a:spcAft>
              <a:buFontTx/>
              <a:buNone/>
              <a:defRPr sz="1400" b="0">
                <a:latin typeface="+mn-lt"/>
              </a:defRPr>
            </a:lvl1pPr>
            <a:lvl2pPr marL="288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400" b="0">
                <a:latin typeface="+mn-lt"/>
              </a:defRPr>
            </a:lvl2pPr>
            <a:lvl3pPr marL="288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 b="0">
                <a:latin typeface="+mn-lt"/>
              </a:defRPr>
            </a:lvl3pPr>
            <a:lvl4pPr marL="576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400" b="0">
                <a:latin typeface="+mn-lt"/>
              </a:defRPr>
            </a:lvl4pPr>
            <a:lvl5pPr marL="576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 b="0">
                <a:latin typeface="+mn-lt"/>
              </a:defRPr>
            </a:lvl5pPr>
          </a:lstStyle>
          <a:p>
            <a:pPr lvl="0"/>
            <a:r>
              <a:rPr lang="cs-CZ"/>
              <a:t>Fotografie</a:t>
            </a: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52768622-3506-4494-93DC-BCD997222D52}"/>
              </a:ext>
            </a:extLst>
          </p:cNvPr>
          <p:cNvSpPr txBox="1"/>
          <p:nvPr userDrawn="1"/>
        </p:nvSpPr>
        <p:spPr>
          <a:xfrm>
            <a:off x="6528171" y="1890265"/>
            <a:ext cx="4824413" cy="147732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lvl="0"/>
            <a:r>
              <a:rPr lang="cs-CZ" sz="4800">
                <a:solidFill>
                  <a:schemeClr val="tx1"/>
                </a:solidFill>
                <a:latin typeface="+mj-lt"/>
              </a:rPr>
              <a:t>Kontaktní</a:t>
            </a:r>
            <a:br>
              <a:rPr lang="cs-CZ" sz="4800">
                <a:solidFill>
                  <a:schemeClr val="tx1"/>
                </a:solidFill>
                <a:latin typeface="+mj-lt"/>
              </a:rPr>
            </a:br>
            <a:r>
              <a:rPr lang="cs-CZ" sz="4800">
                <a:solidFill>
                  <a:schemeClr val="tx1"/>
                </a:solidFill>
                <a:latin typeface="+mj-lt"/>
              </a:rPr>
              <a:t>osoba</a:t>
            </a:r>
          </a:p>
        </p:txBody>
      </p:sp>
      <p:sp>
        <p:nvSpPr>
          <p:cNvPr id="15" name="Zástupný text 22">
            <a:extLst>
              <a:ext uri="{FF2B5EF4-FFF2-40B4-BE49-F238E27FC236}">
                <a16:creationId xmlns:a16="http://schemas.microsoft.com/office/drawing/2014/main" id="{96BA9920-079B-4EA7-9D17-F3134E3833F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28170" y="4044572"/>
            <a:ext cx="4824413" cy="1607819"/>
          </a:xfrm>
          <a:prstGeom prst="rect">
            <a:avLst/>
          </a:prstGeom>
          <a:noFill/>
        </p:spPr>
        <p:txBody>
          <a:bodyPr lIns="0" tIns="0" rIns="0" bIns="0" numCol="1" spcCol="3600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Symbol" panose="05050102010706020507" pitchFamily="18" charset="2"/>
              <a:buNone/>
              <a:defRPr sz="1800" u="sng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Tx/>
              <a:buNone/>
              <a:defRPr sz="1400" u="none">
                <a:solidFill>
                  <a:schemeClr val="tx1"/>
                </a:solidFill>
                <a:latin typeface="+mn-lt"/>
                <a:cs typeface="Segoe UI" panose="020B0502040204020203" pitchFamily="34" charset="0"/>
              </a:defRPr>
            </a:lvl2pPr>
            <a:lvl3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1400">
                <a:solidFill>
                  <a:schemeClr val="tx1"/>
                </a:solidFill>
              </a:defRPr>
            </a:lvl3pPr>
            <a:lvl4pPr marL="288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400" b="0">
                <a:solidFill>
                  <a:schemeClr val="tx1"/>
                </a:solidFill>
              </a:defRPr>
            </a:lvl4pPr>
            <a:lvl5pPr marL="288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>
                <a:solidFill>
                  <a:schemeClr val="tx1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cs-CZ"/>
              <a:t>Jméno a příjmení</a:t>
            </a:r>
          </a:p>
          <a:p>
            <a:pPr lvl="1"/>
            <a:r>
              <a:rPr lang="cs-CZ"/>
              <a:t>Funkce</a:t>
            </a:r>
          </a:p>
          <a:p>
            <a:pPr lvl="1"/>
            <a:r>
              <a:rPr lang="cs-CZ"/>
              <a:t>Telefon</a:t>
            </a:r>
          </a:p>
          <a:p>
            <a:pPr lvl="1"/>
            <a:r>
              <a:rPr lang="cs-CZ"/>
              <a:t>Email</a:t>
            </a:r>
          </a:p>
        </p:txBody>
      </p:sp>
      <p:pic>
        <p:nvPicPr>
          <p:cNvPr id="9" name="Obrázek 8">
            <a:extLst>
              <a:ext uri="{FF2B5EF4-FFF2-40B4-BE49-F238E27FC236}">
                <a16:creationId xmlns:a16="http://schemas.microsoft.com/office/drawing/2014/main" id="{38990EBD-0D9B-48EC-9B96-6C88D385587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07368" y="6551539"/>
            <a:ext cx="216000" cy="201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08348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ulka 0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Nadpis 1">
            <a:extLst>
              <a:ext uri="{FF2B5EF4-FFF2-40B4-BE49-F238E27FC236}">
                <a16:creationId xmlns:a16="http://schemas.microsoft.com/office/drawing/2014/main" id="{E7CEED6A-67CE-4F3E-B513-33045FA31B3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9416" y="3816000"/>
            <a:ext cx="10512797" cy="1701232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54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cs-CZ"/>
              <a:t>Vložte název prezentace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9F37A77A-52E8-4BD6-8076-C20B52BB5469}"/>
              </a:ext>
            </a:extLst>
          </p:cNvPr>
          <p:cNvSpPr txBox="1"/>
          <p:nvPr userDrawn="1"/>
        </p:nvSpPr>
        <p:spPr>
          <a:xfrm>
            <a:off x="839416" y="5899206"/>
            <a:ext cx="6097604" cy="18466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cs-CZ" sz="1200" b="1">
                <a:solidFill>
                  <a:schemeClr val="tx2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gasnet.cz | 555 90 10 10</a:t>
            </a:r>
            <a:endParaRPr lang="cs-CZ" sz="1200" b="1" dirty="0">
              <a:solidFill>
                <a:schemeClr val="tx2"/>
              </a:solidFill>
              <a:latin typeface="Segoe UI Semibold" panose="020B0502040204020203" pitchFamily="34" charset="0"/>
              <a:cs typeface="Segoe UI Semibold" panose="020B0502040204020203" pitchFamily="34" charset="0"/>
            </a:endParaRPr>
          </a:p>
        </p:txBody>
      </p:sp>
      <p:sp>
        <p:nvSpPr>
          <p:cNvPr id="14" name="Zástupný symbol pro zápatí 1">
            <a:extLst>
              <a:ext uri="{FF2B5EF4-FFF2-40B4-BE49-F238E27FC236}">
                <a16:creationId xmlns:a16="http://schemas.microsoft.com/office/drawing/2014/main" id="{7C19FD18-120D-4852-A23D-E108500AC32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392144" y="720000"/>
            <a:ext cx="3960000" cy="32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tx2"/>
                </a:solidFill>
                <a:latin typeface="+mn-lt"/>
              </a:defRPr>
            </a:lvl1pPr>
          </a:lstStyle>
          <a:p>
            <a:endParaRPr lang="cs-CZ" dirty="0">
              <a:cs typeface="Segoe UI Light" panose="020B0502040204020203" pitchFamily="34" charset="0"/>
            </a:endParaRPr>
          </a:p>
        </p:txBody>
      </p:sp>
      <p:sp>
        <p:nvSpPr>
          <p:cNvPr id="15" name="Zástupný text 3">
            <a:extLst>
              <a:ext uri="{FF2B5EF4-FFF2-40B4-BE49-F238E27FC236}">
                <a16:creationId xmlns:a16="http://schemas.microsoft.com/office/drawing/2014/main" id="{6395CBE9-D34B-4EDA-A981-E8EF27D9348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40592" y="3204000"/>
            <a:ext cx="10511552" cy="4680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800" u="sng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cs-CZ"/>
              <a:t>Vložte doplňkový nadpis</a:t>
            </a:r>
          </a:p>
        </p:txBody>
      </p:sp>
      <p:pic>
        <p:nvPicPr>
          <p:cNvPr id="7" name="Obrázek 6">
            <a:extLst>
              <a:ext uri="{FF2B5EF4-FFF2-40B4-BE49-F238E27FC236}">
                <a16:creationId xmlns:a16="http://schemas.microsoft.com/office/drawing/2014/main" id="{0EFDF68A-BBE4-44C9-8797-7D3E138EF61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840394" y="836712"/>
            <a:ext cx="1520496" cy="12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940672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ní osoba 0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délník 1">
            <a:extLst>
              <a:ext uri="{FF2B5EF4-FFF2-40B4-BE49-F238E27FC236}">
                <a16:creationId xmlns:a16="http://schemas.microsoft.com/office/drawing/2014/main" id="{1B93E936-06F7-4ACF-BA3B-1B908FB0ED86}"/>
              </a:ext>
            </a:extLst>
          </p:cNvPr>
          <p:cNvSpPr/>
          <p:nvPr userDrawn="1"/>
        </p:nvSpPr>
        <p:spPr bwMode="gray">
          <a:xfrm>
            <a:off x="407988" y="413490"/>
            <a:ext cx="11376024" cy="6039698"/>
          </a:xfrm>
          <a:prstGeom prst="rect">
            <a:avLst/>
          </a:prstGeom>
          <a:solidFill>
            <a:schemeClr val="accent4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ctr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cs-CZ" sz="1400" dirty="0">
              <a:solidFill>
                <a:schemeClr val="bg1"/>
              </a:solidFill>
            </a:endParaRPr>
          </a:p>
        </p:txBody>
      </p:sp>
      <p:sp>
        <p:nvSpPr>
          <p:cNvPr id="16" name="Zástupný symbol pro číslo snímku 2">
            <a:extLst>
              <a:ext uri="{FF2B5EF4-FFF2-40B4-BE49-F238E27FC236}">
                <a16:creationId xmlns:a16="http://schemas.microsoft.com/office/drawing/2014/main" id="{B9E3D326-5370-4A92-A89B-E96221EB41A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40000" y="6551999"/>
            <a:ext cx="4320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900">
                <a:solidFill>
                  <a:schemeClr val="tx1"/>
                </a:solidFill>
                <a:latin typeface="+mj-lt"/>
              </a:defRPr>
            </a:lvl1pPr>
          </a:lstStyle>
          <a:p>
            <a:fld id="{46545F21-C657-4764-B5B2-92A02BE34E1E}" type="slidenum">
              <a:rPr lang="cs-CZ" smtClean="0"/>
              <a:pPr/>
              <a:t>‹#›</a:t>
            </a:fld>
            <a:endParaRPr lang="cs-CZ">
              <a:latin typeface="+mj-lt"/>
            </a:endParaRP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EF8C060C-46B7-4BF0-BF70-A2A8046939A1}"/>
              </a:ext>
            </a:extLst>
          </p:cNvPr>
          <p:cNvSpPr txBox="1"/>
          <p:nvPr userDrawn="1"/>
        </p:nvSpPr>
        <p:spPr>
          <a:xfrm>
            <a:off x="9864000" y="6593500"/>
            <a:ext cx="1129052" cy="138499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 algn="r"/>
            <a:r>
              <a:rPr lang="cs-CZ" sz="900" b="1">
                <a:solidFill>
                  <a:schemeClr val="tx1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gasnet.cz</a:t>
            </a:r>
            <a:endParaRPr lang="cs-CZ" sz="900" b="1" dirty="0">
              <a:solidFill>
                <a:schemeClr val="tx1"/>
              </a:solidFill>
              <a:latin typeface="Segoe UI Semibold" panose="020B0502040204020203" pitchFamily="34" charset="0"/>
              <a:cs typeface="Segoe UI Semibold" panose="020B0502040204020203" pitchFamily="34" charset="0"/>
            </a:endParaRP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52768622-3506-4494-93DC-BCD997222D52}"/>
              </a:ext>
            </a:extLst>
          </p:cNvPr>
          <p:cNvSpPr txBox="1"/>
          <p:nvPr userDrawn="1"/>
        </p:nvSpPr>
        <p:spPr>
          <a:xfrm>
            <a:off x="839788" y="3305908"/>
            <a:ext cx="4824413" cy="147732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lvl="0"/>
            <a:r>
              <a:rPr lang="cs-CZ" sz="4800">
                <a:solidFill>
                  <a:schemeClr val="tx1"/>
                </a:solidFill>
                <a:latin typeface="+mj-lt"/>
              </a:rPr>
              <a:t>Kontaktní</a:t>
            </a:r>
            <a:br>
              <a:rPr lang="cs-CZ" sz="4800">
                <a:solidFill>
                  <a:schemeClr val="tx1"/>
                </a:solidFill>
                <a:latin typeface="+mj-lt"/>
              </a:rPr>
            </a:br>
            <a:r>
              <a:rPr lang="cs-CZ" sz="4800">
                <a:solidFill>
                  <a:schemeClr val="tx1"/>
                </a:solidFill>
                <a:latin typeface="+mj-lt"/>
              </a:rPr>
              <a:t>osoba</a:t>
            </a:r>
          </a:p>
        </p:txBody>
      </p:sp>
      <p:sp>
        <p:nvSpPr>
          <p:cNvPr id="15" name="Zástupný text 22">
            <a:extLst>
              <a:ext uri="{FF2B5EF4-FFF2-40B4-BE49-F238E27FC236}">
                <a16:creationId xmlns:a16="http://schemas.microsoft.com/office/drawing/2014/main" id="{96BA9920-079B-4EA7-9D17-F3134E3833F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27801" y="3430961"/>
            <a:ext cx="4824413" cy="1607819"/>
          </a:xfrm>
          <a:prstGeom prst="rect">
            <a:avLst/>
          </a:prstGeom>
          <a:noFill/>
        </p:spPr>
        <p:txBody>
          <a:bodyPr lIns="0" tIns="0" rIns="0" bIns="0" numCol="1" spcCol="36000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Symbol" panose="05050102010706020507" pitchFamily="18" charset="2"/>
              <a:buNone/>
              <a:defRPr sz="1800" u="sng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Tx/>
              <a:buNone/>
              <a:defRPr sz="1400" u="none">
                <a:solidFill>
                  <a:schemeClr val="tx1"/>
                </a:solidFill>
                <a:latin typeface="+mn-lt"/>
                <a:cs typeface="Segoe UI" panose="020B0502040204020203" pitchFamily="34" charset="0"/>
              </a:defRPr>
            </a:lvl2pPr>
            <a:lvl3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1400">
                <a:solidFill>
                  <a:schemeClr val="tx1"/>
                </a:solidFill>
              </a:defRPr>
            </a:lvl3pPr>
            <a:lvl4pPr marL="288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400" b="0">
                <a:solidFill>
                  <a:schemeClr val="tx1"/>
                </a:solidFill>
              </a:defRPr>
            </a:lvl4pPr>
            <a:lvl5pPr marL="288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>
                <a:solidFill>
                  <a:schemeClr val="tx1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lang="cs-CZ"/>
              <a:t>Jméno a příjmení</a:t>
            </a:r>
          </a:p>
          <a:p>
            <a:pPr lvl="1"/>
            <a:r>
              <a:rPr lang="cs-CZ"/>
              <a:t>Funkce</a:t>
            </a:r>
          </a:p>
          <a:p>
            <a:pPr lvl="1"/>
            <a:r>
              <a:rPr lang="cs-CZ"/>
              <a:t>Telefon</a:t>
            </a:r>
          </a:p>
          <a:p>
            <a:pPr lvl="1"/>
            <a:r>
              <a:rPr lang="cs-CZ"/>
              <a:t>Email</a:t>
            </a: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1F7CA100-52B1-45B3-8F8E-69349D65F68A}"/>
              </a:ext>
            </a:extLst>
          </p:cNvPr>
          <p:cNvSpPr txBox="1"/>
          <p:nvPr userDrawn="1"/>
        </p:nvSpPr>
        <p:spPr>
          <a:xfrm>
            <a:off x="839416" y="5899206"/>
            <a:ext cx="6097604" cy="18466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cs-CZ" sz="1200" b="1">
                <a:solidFill>
                  <a:schemeClr val="tx2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gasnet.cz | 555 90 10 10</a:t>
            </a:r>
            <a:endParaRPr lang="cs-CZ" sz="1200" b="1" dirty="0">
              <a:solidFill>
                <a:schemeClr val="tx2"/>
              </a:solidFill>
              <a:latin typeface="Segoe UI Semibold" panose="020B0502040204020203" pitchFamily="34" charset="0"/>
              <a:cs typeface="Segoe UI Semibold" panose="020B0502040204020203" pitchFamily="34" charset="0"/>
            </a:endParaRPr>
          </a:p>
        </p:txBody>
      </p:sp>
      <p:pic>
        <p:nvPicPr>
          <p:cNvPr id="11" name="Obrázek 10">
            <a:extLst>
              <a:ext uri="{FF2B5EF4-FFF2-40B4-BE49-F238E27FC236}">
                <a16:creationId xmlns:a16="http://schemas.microsoft.com/office/drawing/2014/main" id="{AE18A26D-88B0-4D64-9F9F-C561F4F9B68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840394" y="836712"/>
            <a:ext cx="1520496" cy="1224000"/>
          </a:xfrm>
          <a:prstGeom prst="rect">
            <a:avLst/>
          </a:prstGeom>
        </p:spPr>
      </p:pic>
      <p:pic>
        <p:nvPicPr>
          <p:cNvPr id="12" name="Obrázek 11">
            <a:extLst>
              <a:ext uri="{FF2B5EF4-FFF2-40B4-BE49-F238E27FC236}">
                <a16:creationId xmlns:a16="http://schemas.microsoft.com/office/drawing/2014/main" id="{0D5E26E3-7DA5-4057-976C-94CD127C8E5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07368" y="6551539"/>
            <a:ext cx="216000" cy="201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537754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ěkujeme 0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1">
            <a:extLst>
              <a:ext uri="{FF2B5EF4-FFF2-40B4-BE49-F238E27FC236}">
                <a16:creationId xmlns:a16="http://schemas.microsoft.com/office/drawing/2014/main" id="{FD88A975-0DD0-4B22-A309-E923D9A122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0592" y="3816000"/>
            <a:ext cx="10511621" cy="1701232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54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cs-CZ"/>
              <a:t>Děkujeme</a:t>
            </a:r>
          </a:p>
        </p:txBody>
      </p:sp>
      <p:sp>
        <p:nvSpPr>
          <p:cNvPr id="5" name="TextovéPole 4">
            <a:extLst>
              <a:ext uri="{FF2B5EF4-FFF2-40B4-BE49-F238E27FC236}">
                <a16:creationId xmlns:a16="http://schemas.microsoft.com/office/drawing/2014/main" id="{D88E681C-FAAD-46B5-B6A7-DC08D85B3FD9}"/>
              </a:ext>
            </a:extLst>
          </p:cNvPr>
          <p:cNvSpPr txBox="1"/>
          <p:nvPr userDrawn="1"/>
        </p:nvSpPr>
        <p:spPr>
          <a:xfrm>
            <a:off x="839416" y="5899206"/>
            <a:ext cx="6097604" cy="18466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cs-CZ" sz="1200" b="1">
                <a:solidFill>
                  <a:schemeClr val="bg1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gasnet.cz | 555 90 10 10</a:t>
            </a:r>
            <a:endParaRPr lang="cs-CZ" sz="1200" b="1" dirty="0">
              <a:solidFill>
                <a:schemeClr val="bg1"/>
              </a:solidFill>
              <a:latin typeface="Segoe UI Semibold" panose="020B0502040204020203" pitchFamily="34" charset="0"/>
              <a:cs typeface="Segoe UI Semibold" panose="020B0502040204020203" pitchFamily="34" charset="0"/>
            </a:endParaRPr>
          </a:p>
        </p:txBody>
      </p:sp>
      <p:sp>
        <p:nvSpPr>
          <p:cNvPr id="13" name="Zástupný text 3">
            <a:extLst>
              <a:ext uri="{FF2B5EF4-FFF2-40B4-BE49-F238E27FC236}">
                <a16:creationId xmlns:a16="http://schemas.microsoft.com/office/drawing/2014/main" id="{D917BDA2-571D-4E49-BB28-AEE2805555A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40592" y="3204000"/>
            <a:ext cx="10511621" cy="4680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800" u="sng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cs-CZ"/>
              <a:t>Vložte doplňkový nadpis</a:t>
            </a:r>
          </a:p>
        </p:txBody>
      </p:sp>
      <p:pic>
        <p:nvPicPr>
          <p:cNvPr id="7" name="Obrázek 6">
            <a:extLst>
              <a:ext uri="{FF2B5EF4-FFF2-40B4-BE49-F238E27FC236}">
                <a16:creationId xmlns:a16="http://schemas.microsoft.com/office/drawing/2014/main" id="{E2FCADB5-C4B8-44F9-9277-3A6E986E3F6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40394" y="836712"/>
            <a:ext cx="1520497" cy="12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651651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ěkujeme 0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Nadpis 1">
            <a:extLst>
              <a:ext uri="{FF2B5EF4-FFF2-40B4-BE49-F238E27FC236}">
                <a16:creationId xmlns:a16="http://schemas.microsoft.com/office/drawing/2014/main" id="{E7CEED6A-67CE-4F3E-B513-33045FA31B3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9416" y="3816000"/>
            <a:ext cx="10512797" cy="1701232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54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cs-CZ"/>
              <a:t>Děkujeme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9F37A77A-52E8-4BD6-8076-C20B52BB5469}"/>
              </a:ext>
            </a:extLst>
          </p:cNvPr>
          <p:cNvSpPr txBox="1"/>
          <p:nvPr userDrawn="1"/>
        </p:nvSpPr>
        <p:spPr>
          <a:xfrm>
            <a:off x="839416" y="5899206"/>
            <a:ext cx="6097604" cy="18466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cs-CZ" sz="1200" b="1">
                <a:solidFill>
                  <a:schemeClr val="tx2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gasnet.cz | 555 90 10 10</a:t>
            </a:r>
            <a:endParaRPr lang="cs-CZ" sz="1200" b="1" dirty="0">
              <a:solidFill>
                <a:schemeClr val="tx2"/>
              </a:solidFill>
              <a:latin typeface="Segoe UI Semibold" panose="020B0502040204020203" pitchFamily="34" charset="0"/>
              <a:cs typeface="Segoe UI Semibold" panose="020B0502040204020203" pitchFamily="34" charset="0"/>
            </a:endParaRPr>
          </a:p>
        </p:txBody>
      </p:sp>
      <p:sp>
        <p:nvSpPr>
          <p:cNvPr id="15" name="Zástupný text 3">
            <a:extLst>
              <a:ext uri="{FF2B5EF4-FFF2-40B4-BE49-F238E27FC236}">
                <a16:creationId xmlns:a16="http://schemas.microsoft.com/office/drawing/2014/main" id="{6395CBE9-D34B-4EDA-A981-E8EF27D9348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40592" y="3204000"/>
            <a:ext cx="10511552" cy="4680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800" u="sng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cs-CZ"/>
              <a:t>Vložte doplňkový nadpis</a:t>
            </a:r>
          </a:p>
        </p:txBody>
      </p:sp>
      <p:pic>
        <p:nvPicPr>
          <p:cNvPr id="6" name="Obrázek 5">
            <a:extLst>
              <a:ext uri="{FF2B5EF4-FFF2-40B4-BE49-F238E27FC236}">
                <a16:creationId xmlns:a16="http://schemas.microsoft.com/office/drawing/2014/main" id="{F10546F6-BFA6-4581-93E2-9505E5B3C5B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840394" y="836712"/>
            <a:ext cx="1520496" cy="12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580994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ákladní logo 0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ázek 2">
            <a:extLst>
              <a:ext uri="{FF2B5EF4-FFF2-40B4-BE49-F238E27FC236}">
                <a16:creationId xmlns:a16="http://schemas.microsoft.com/office/drawing/2014/main" id="{AC95F232-CB9E-4896-B321-BD184004168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576000" y="1400400"/>
            <a:ext cx="5040000" cy="40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189605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ákladní logo 0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rázek 3">
            <a:extLst>
              <a:ext uri="{FF2B5EF4-FFF2-40B4-BE49-F238E27FC236}">
                <a16:creationId xmlns:a16="http://schemas.microsoft.com/office/drawing/2014/main" id="{899B235F-929A-4700-BA44-1CA1790139E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3576000" y="1400400"/>
            <a:ext cx="5040000" cy="40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108162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"/>
          <p:cNvSpPr>
            <a:spLocks noGrp="1"/>
          </p:cNvSpPr>
          <p:nvPr>
            <p:ph type="body" sz="quarter" idx="10" hasCustomPrompt="1"/>
          </p:nvPr>
        </p:nvSpPr>
        <p:spPr>
          <a:xfrm>
            <a:off x="503869" y="1548000"/>
            <a:ext cx="11183565" cy="4787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Start typing to add text without a bullet point. To add a bullet point, place the cursor at the start of this line and press tab.</a:t>
            </a:r>
            <a:endParaRPr lang="en-US" noProof="0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"/>
          <p:cNvSpPr>
            <a:spLocks noGrp="1"/>
          </p:cNvSpPr>
          <p:nvPr>
            <p:ph type="title" hasCustomPrompt="1"/>
          </p:nvPr>
        </p:nvSpPr>
        <p:spPr>
          <a:xfrm>
            <a:off x="503869" y="504000"/>
            <a:ext cx="11183564" cy="369332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/>
              <a:t>Insert page title (sentence case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568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2">
          <p15:clr>
            <a:srgbClr val="FBAE40"/>
          </p15:clr>
        </p15:guide>
        <p15:guide id="2" orient="horz" pos="3997">
          <p15:clr>
            <a:srgbClr val="FBAE40"/>
          </p15:clr>
        </p15:guide>
        <p15:guide id="3" pos="7364">
          <p15:clr>
            <a:srgbClr val="FBAE40"/>
          </p15:clr>
        </p15:guide>
        <p15:guide id="4" orient="horz" pos="318">
          <p15:clr>
            <a:srgbClr val="FBAE40"/>
          </p15:clr>
        </p15:guide>
        <p15:guide id="5" orient="horz" pos="552">
          <p15:clr>
            <a:srgbClr val="FBAE40"/>
          </p15:clr>
        </p15:guide>
        <p15:guide id="6" orient="horz" pos="972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délník 3">
            <a:extLst>
              <a:ext uri="{FF2B5EF4-FFF2-40B4-BE49-F238E27FC236}">
                <a16:creationId xmlns:a16="http://schemas.microsoft.com/office/drawing/2014/main" id="{5AC012F0-D39D-483B-9436-BDCF12611E05}"/>
              </a:ext>
            </a:extLst>
          </p:cNvPr>
          <p:cNvSpPr/>
          <p:nvPr userDrawn="1"/>
        </p:nvSpPr>
        <p:spPr bwMode="gray">
          <a:xfrm>
            <a:off x="407368" y="413490"/>
            <a:ext cx="11376024" cy="6039698"/>
          </a:xfrm>
          <a:prstGeom prst="rect">
            <a:avLst/>
          </a:prstGeom>
          <a:solidFill>
            <a:schemeClr val="accent4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ctr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cs-CZ" sz="1400" dirty="0">
              <a:solidFill>
                <a:schemeClr val="bg1"/>
              </a:solidFill>
            </a:endParaRPr>
          </a:p>
        </p:txBody>
      </p:sp>
      <p:sp>
        <p:nvSpPr>
          <p:cNvPr id="6" name="Obdélník 5">
            <a:extLst>
              <a:ext uri="{FF2B5EF4-FFF2-40B4-BE49-F238E27FC236}">
                <a16:creationId xmlns:a16="http://schemas.microsoft.com/office/drawing/2014/main" id="{F8C8CC80-D8D6-4362-A547-133D4A4175B2}"/>
              </a:ext>
            </a:extLst>
          </p:cNvPr>
          <p:cNvSpPr/>
          <p:nvPr userDrawn="1"/>
        </p:nvSpPr>
        <p:spPr bwMode="gray">
          <a:xfrm>
            <a:off x="839787" y="849307"/>
            <a:ext cx="10512425" cy="5243517"/>
          </a:xfrm>
          <a:prstGeom prst="rect">
            <a:avLst/>
          </a:prstGeom>
          <a:solidFill>
            <a:schemeClr val="tx2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ctr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cs-CZ" sz="1400" dirty="0">
              <a:solidFill>
                <a:schemeClr val="bg1"/>
              </a:solidFill>
            </a:endParaRP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17D7F873-97D3-4E06-A57D-85231CD3DA9A}"/>
              </a:ext>
            </a:extLst>
          </p:cNvPr>
          <p:cNvSpPr txBox="1"/>
          <p:nvPr userDrawn="1"/>
        </p:nvSpPr>
        <p:spPr>
          <a:xfrm>
            <a:off x="1127448" y="2994011"/>
            <a:ext cx="10512428" cy="253915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288000" lvl="0" indent="-288000">
              <a:lnSpc>
                <a:spcPct val="100000"/>
              </a:lnSpc>
              <a:spcAft>
                <a:spcPts val="600"/>
              </a:spcAft>
              <a:buSzPct val="130000"/>
              <a:buFont typeface="Helvetica" pitchFamily="2" charset="0"/>
              <a:buChar char="●"/>
            </a:pPr>
            <a:r>
              <a:rPr lang="cs-CZ" sz="1400" b="0">
                <a:latin typeface="+mn-lt"/>
                <a:cs typeface="Segoe UI Light" panose="020B0502040204020203" pitchFamily="34" charset="0"/>
              </a:rPr>
              <a:t>Jednotlivé prezentace by měly působit co nejvíce </a:t>
            </a:r>
            <a:r>
              <a:rPr lang="cs-CZ" sz="1400" b="0">
                <a:latin typeface="+mj-lt"/>
                <a:cs typeface="Segoe UI Light" panose="020B0502040204020203" pitchFamily="34" charset="0"/>
              </a:rPr>
              <a:t>konzistentně</a:t>
            </a:r>
            <a:r>
              <a:rPr lang="cs-CZ" sz="1400" b="0">
                <a:latin typeface="+mn-lt"/>
                <a:cs typeface="Segoe UI Light" panose="020B0502040204020203" pitchFamily="34" charset="0"/>
              </a:rPr>
              <a:t>. Dodržujeme tedy korporátní </a:t>
            </a:r>
            <a:r>
              <a:rPr lang="cs-CZ" sz="1400" b="0">
                <a:latin typeface="+mj-lt"/>
                <a:cs typeface="Segoe UI Light" panose="020B0502040204020203" pitchFamily="34" charset="0"/>
              </a:rPr>
              <a:t>barevné schéma, písma a layouty </a:t>
            </a:r>
            <a:br>
              <a:rPr lang="cs-CZ" sz="1400" b="0">
                <a:latin typeface="+mj-lt"/>
                <a:cs typeface="Segoe UI Light" panose="020B0502040204020203" pitchFamily="34" charset="0"/>
              </a:rPr>
            </a:br>
            <a:r>
              <a:rPr lang="cs-CZ" sz="1400" b="0">
                <a:latin typeface="+mj-lt"/>
                <a:cs typeface="Segoe UI Light" panose="020B0502040204020203" pitchFamily="34" charset="0"/>
              </a:rPr>
              <a:t>nastíněné v této šabloně</a:t>
            </a:r>
            <a:r>
              <a:rPr lang="cs-CZ" sz="1400" b="0">
                <a:latin typeface="+mn-lt"/>
                <a:cs typeface="Segoe UI Light" panose="020B0502040204020203" pitchFamily="34" charset="0"/>
              </a:rPr>
              <a:t>.</a:t>
            </a:r>
          </a:p>
          <a:p>
            <a:pPr marL="288000" marR="0" lvl="0" indent="-288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30000"/>
              <a:buFont typeface="Helvetica" pitchFamily="2" charset="0"/>
              <a:buChar char="●"/>
              <a:tabLst/>
              <a:defRPr/>
            </a:pPr>
            <a:r>
              <a:rPr lang="cs-CZ" sz="1400" b="0">
                <a:latin typeface="+mn-lt"/>
                <a:cs typeface="Segoe UI Light" panose="020B0502040204020203" pitchFamily="34" charset="0"/>
              </a:rPr>
              <a:t>Barevnost je obecně spíše </a:t>
            </a:r>
            <a:r>
              <a:rPr lang="cs-CZ" sz="1400" b="0">
                <a:latin typeface="+mj-lt"/>
                <a:cs typeface="Segoe UI Light" panose="020B0502040204020203" pitchFamily="34" charset="0"/>
              </a:rPr>
              <a:t>střídmá, ve stupních šedi</a:t>
            </a:r>
            <a:r>
              <a:rPr lang="cs-CZ" sz="1400" b="0">
                <a:latin typeface="+mn-lt"/>
                <a:cs typeface="Segoe UI Light" panose="020B0502040204020203" pitchFamily="34" charset="0"/>
              </a:rPr>
              <a:t>. Pro zvýraznění konkrétních elementů používáme </a:t>
            </a:r>
            <a:r>
              <a:rPr lang="cs-CZ" sz="1400" b="0">
                <a:latin typeface="+mj-lt"/>
                <a:cs typeface="Segoe UI Light" panose="020B0502040204020203" pitchFamily="34" charset="0"/>
              </a:rPr>
              <a:t>firemní zelenou</a:t>
            </a:r>
            <a:r>
              <a:rPr lang="cs-CZ" sz="1400" b="0">
                <a:latin typeface="+mn-lt"/>
                <a:cs typeface="Segoe UI Light" panose="020B0502040204020203" pitchFamily="34" charset="0"/>
              </a:rPr>
              <a:t>.</a:t>
            </a:r>
            <a:br>
              <a:rPr lang="cs-CZ" sz="1400" b="0">
                <a:latin typeface="+mn-lt"/>
                <a:cs typeface="Segoe UI Light" panose="020B0502040204020203" pitchFamily="34" charset="0"/>
              </a:rPr>
            </a:br>
            <a:r>
              <a:rPr lang="cs-CZ" sz="1400">
                <a:solidFill>
                  <a:schemeClr val="tx1"/>
                </a:solidFill>
                <a:latin typeface="+mn-lt"/>
              </a:rPr>
              <a:t>Pro zvýraznění negativních/záporných hodnot, čísel, faktů apod. lze použít </a:t>
            </a:r>
            <a:r>
              <a:rPr lang="cs-CZ" sz="1400">
                <a:solidFill>
                  <a:srgbClr val="FF0000"/>
                </a:solidFill>
                <a:latin typeface="+mj-lt"/>
              </a:rPr>
              <a:t>červenou barvu</a:t>
            </a:r>
            <a:r>
              <a:rPr lang="cs-CZ" sz="1400">
                <a:solidFill>
                  <a:schemeClr val="tx1"/>
                </a:solidFill>
                <a:latin typeface="+mn-lt"/>
              </a:rPr>
              <a:t>.</a:t>
            </a:r>
            <a:endParaRPr lang="cs-CZ" sz="1400" b="0">
              <a:solidFill>
                <a:schemeClr val="tx1"/>
              </a:solidFill>
              <a:latin typeface="+mn-lt"/>
              <a:cs typeface="Segoe UI Light" panose="020B0502040204020203" pitchFamily="34" charset="0"/>
            </a:endParaRPr>
          </a:p>
          <a:p>
            <a:pPr marL="288000" indent="-288000">
              <a:lnSpc>
                <a:spcPct val="100000"/>
              </a:lnSpc>
              <a:spcAft>
                <a:spcPts val="600"/>
              </a:spcAft>
              <a:buSzPct val="130000"/>
              <a:buFont typeface="Helvetica" pitchFamily="2" charset="0"/>
              <a:buChar char="●"/>
            </a:pPr>
            <a:r>
              <a:rPr lang="cs-CZ" sz="1400" b="0">
                <a:latin typeface="+mn-lt"/>
                <a:cs typeface="Segoe UI Light" panose="020B0502040204020203" pitchFamily="34" charset="0"/>
              </a:rPr>
              <a:t>Slidy udržujeme </a:t>
            </a:r>
            <a:r>
              <a:rPr lang="cs-CZ" sz="1400" b="0">
                <a:latin typeface="+mj-lt"/>
                <a:cs typeface="Segoe UI Light" panose="020B0502040204020203" pitchFamily="34" charset="0"/>
              </a:rPr>
              <a:t>čisté a vzdušné</a:t>
            </a:r>
            <a:r>
              <a:rPr lang="cs-CZ" sz="1400" b="0">
                <a:latin typeface="+mn-lt"/>
                <a:cs typeface="Segoe UI Light" panose="020B0502040204020203" pitchFamily="34" charset="0"/>
              </a:rPr>
              <a:t>. Větší objemy informací rozdělíme do více slidů. Vyhýbáme se nahuštění obsahu na malý prostor.</a:t>
            </a:r>
          </a:p>
          <a:p>
            <a:pPr marL="288000" indent="-288000">
              <a:lnSpc>
                <a:spcPct val="100000"/>
              </a:lnSpc>
              <a:spcAft>
                <a:spcPts val="600"/>
              </a:spcAft>
              <a:buSzPct val="130000"/>
              <a:buFont typeface="Helvetica" pitchFamily="2" charset="0"/>
              <a:buChar char="●"/>
            </a:pPr>
            <a:r>
              <a:rPr lang="cs-CZ" sz="1400" b="0">
                <a:latin typeface="+mn-lt"/>
                <a:cs typeface="Segoe UI Light" panose="020B0502040204020203" pitchFamily="34" charset="0"/>
              </a:rPr>
              <a:t>U každého slidu dodržujeme naznačený grid. </a:t>
            </a:r>
            <a:r>
              <a:rPr lang="cs-CZ" sz="1400" b="0">
                <a:latin typeface="+mj-lt"/>
                <a:cs typeface="Segoe UI Light" panose="020B0502040204020203" pitchFamily="34" charset="0"/>
              </a:rPr>
              <a:t>Veškeré elementy </a:t>
            </a:r>
            <a:r>
              <a:rPr lang="cs-CZ" sz="1400" b="0">
                <a:latin typeface="+mn-lt"/>
                <a:cs typeface="Segoe UI Light" panose="020B0502040204020203" pitchFamily="34" charset="0"/>
              </a:rPr>
              <a:t>layoutu umisťujeme </a:t>
            </a:r>
            <a:r>
              <a:rPr lang="cs-CZ" sz="1400" b="0">
                <a:latin typeface="+mj-lt"/>
                <a:cs typeface="Segoe UI Light" panose="020B0502040204020203" pitchFamily="34" charset="0"/>
              </a:rPr>
              <a:t>po hranice zeleného pole</a:t>
            </a:r>
            <a:r>
              <a:rPr lang="cs-CZ" sz="1400" b="0">
                <a:latin typeface="+mn-lt"/>
                <a:cs typeface="Segoe UI Light" panose="020B0502040204020203" pitchFamily="34" charset="0"/>
              </a:rPr>
              <a:t>. Elementy </a:t>
            </a:r>
            <a:br>
              <a:rPr lang="cs-CZ" sz="1400" b="0">
                <a:latin typeface="+mn-lt"/>
                <a:cs typeface="Segoe UI Light" panose="020B0502040204020203" pitchFamily="34" charset="0"/>
              </a:rPr>
            </a:br>
            <a:r>
              <a:rPr lang="cs-CZ" sz="1400" b="0">
                <a:latin typeface="+mn-lt"/>
                <a:cs typeface="Segoe UI Light" panose="020B0502040204020203" pitchFamily="34" charset="0"/>
              </a:rPr>
              <a:t>zásadně </a:t>
            </a:r>
            <a:r>
              <a:rPr lang="cs-CZ" sz="1400" b="0">
                <a:latin typeface="+mj-lt"/>
                <a:cs typeface="Segoe UI Light" panose="020B0502040204020203" pitchFamily="34" charset="0"/>
              </a:rPr>
              <a:t>neumisťujeme za nebo na tmavě šedou hranici</a:t>
            </a:r>
            <a:r>
              <a:rPr lang="cs-CZ" sz="1400" b="0">
                <a:latin typeface="+mn-lt"/>
                <a:cs typeface="Segoe UI Light" panose="020B0502040204020203" pitchFamily="34" charset="0"/>
              </a:rPr>
              <a:t>. Nastavení: </a:t>
            </a:r>
            <a:r>
              <a:rPr lang="cs-CZ" sz="1400" b="0" i="1">
                <a:latin typeface="+mn-lt"/>
                <a:cs typeface="Segoe UI Light" panose="020B0502040204020203" pitchFamily="34" charset="0"/>
              </a:rPr>
              <a:t>Zobrazit – Vodítka – Vodítka </a:t>
            </a:r>
            <a:r>
              <a:rPr lang="cs-CZ" sz="1400" b="0">
                <a:latin typeface="+mn-lt"/>
                <a:cs typeface="Segoe UI Light" panose="020B0502040204020203" pitchFamily="34" charset="0"/>
              </a:rPr>
              <a:t>musí být aktivní.</a:t>
            </a:r>
          </a:p>
          <a:p>
            <a:pPr marL="288000" indent="-288000">
              <a:lnSpc>
                <a:spcPct val="100000"/>
              </a:lnSpc>
              <a:spcAft>
                <a:spcPts val="600"/>
              </a:spcAft>
              <a:buSzPct val="130000"/>
              <a:buFont typeface="Helvetica" pitchFamily="2" charset="0"/>
              <a:buChar char="●"/>
            </a:pPr>
            <a:r>
              <a:rPr lang="cs-CZ" sz="1400" b="0">
                <a:latin typeface="+mj-lt"/>
                <a:cs typeface="Segoe UI Light" panose="020B0502040204020203" pitchFamily="34" charset="0"/>
              </a:rPr>
              <a:t>V rámci gridu lze kombinovat obrazovou a textovou část dle potřeby.</a:t>
            </a:r>
          </a:p>
          <a:p>
            <a:pPr marL="288000" indent="-288000">
              <a:lnSpc>
                <a:spcPct val="100000"/>
              </a:lnSpc>
              <a:spcAft>
                <a:spcPts val="600"/>
              </a:spcAft>
              <a:buSzPct val="130000"/>
              <a:buFont typeface="Helvetica" pitchFamily="2" charset="0"/>
              <a:buChar char="●"/>
            </a:pPr>
            <a:r>
              <a:rPr lang="cs-CZ" sz="1400" b="0">
                <a:latin typeface="+mn-lt"/>
                <a:cs typeface="Segoe UI Light" panose="020B0502040204020203" pitchFamily="34" charset="0"/>
              </a:rPr>
              <a:t>V textových rámcích využíváme funkce </a:t>
            </a:r>
            <a:r>
              <a:rPr lang="cs-CZ" sz="1400" b="0">
                <a:latin typeface="+mj-lt"/>
                <a:cs typeface="Segoe UI Light" panose="020B0502040204020203" pitchFamily="34" charset="0"/>
              </a:rPr>
              <a:t>Snížit/Zvýšit úroveň seznamu</a:t>
            </a:r>
            <a:r>
              <a:rPr lang="cs-CZ" sz="1400" b="0">
                <a:latin typeface="+mn-lt"/>
                <a:cs typeface="Segoe UI Light" panose="020B0502040204020203" pitchFamily="34" charset="0"/>
              </a:rPr>
              <a:t>. Tyto textové rámce mají zpravidla 3 použitelné úrovně.</a:t>
            </a:r>
            <a:br>
              <a:rPr lang="cs-CZ" sz="1400" b="0">
                <a:latin typeface="+mn-lt"/>
                <a:cs typeface="Segoe UI Light" panose="020B0502040204020203" pitchFamily="34" charset="0"/>
              </a:rPr>
            </a:br>
            <a:r>
              <a:rPr lang="cs-CZ" sz="1400" b="0">
                <a:latin typeface="+mn-lt"/>
                <a:cs typeface="Segoe UI Light" panose="020B0502040204020203" pitchFamily="34" charset="0"/>
              </a:rPr>
              <a:t>Tlačítka najdeme v nabídce výše, přesnějí Domů &gt; Odstavec &gt;                         .</a:t>
            </a:r>
          </a:p>
        </p:txBody>
      </p:sp>
      <p:pic>
        <p:nvPicPr>
          <p:cNvPr id="12" name="Bild // Listenebene erhöhen">
            <a:extLst>
              <a:ext uri="{FF2B5EF4-FFF2-40B4-BE49-F238E27FC236}">
                <a16:creationId xmlns:a16="http://schemas.microsoft.com/office/drawing/2014/main" id="{F3BE08D9-BE69-40B9-9770-1D157ABB696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703171" y="5295043"/>
            <a:ext cx="514350" cy="238125"/>
          </a:xfrm>
          <a:prstGeom prst="rect">
            <a:avLst/>
          </a:prstGeom>
        </p:spPr>
      </p:pic>
      <p:pic>
        <p:nvPicPr>
          <p:cNvPr id="18" name="Bild // Listenebene verringern">
            <a:extLst>
              <a:ext uri="{FF2B5EF4-FFF2-40B4-BE49-F238E27FC236}">
                <a16:creationId xmlns:a16="http://schemas.microsoft.com/office/drawing/2014/main" id="{54782333-5942-497F-B210-66A5D071961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127107" y="5295043"/>
            <a:ext cx="514350" cy="238125"/>
          </a:xfrm>
          <a:prstGeom prst="rect">
            <a:avLst/>
          </a:prstGeom>
        </p:spPr>
      </p:pic>
      <p:sp>
        <p:nvSpPr>
          <p:cNvPr id="13" name="TextovéPole 12">
            <a:extLst>
              <a:ext uri="{FF2B5EF4-FFF2-40B4-BE49-F238E27FC236}">
                <a16:creationId xmlns:a16="http://schemas.microsoft.com/office/drawing/2014/main" id="{FD4ED231-6D80-47D2-BBE0-85B4AA060EC0}"/>
              </a:ext>
            </a:extLst>
          </p:cNvPr>
          <p:cNvSpPr txBox="1"/>
          <p:nvPr userDrawn="1"/>
        </p:nvSpPr>
        <p:spPr>
          <a:xfrm>
            <a:off x="1128070" y="1062586"/>
            <a:ext cx="6097604" cy="110799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lvl="0"/>
            <a:r>
              <a:rPr lang="cs-CZ" sz="3600" b="0">
                <a:solidFill>
                  <a:schemeClr val="tx1"/>
                </a:solidFill>
                <a:latin typeface="+mj-lt"/>
                <a:cs typeface="Segoe UI Semibold" panose="020B0502040204020203" pitchFamily="34" charset="0"/>
              </a:rPr>
              <a:t>Základní manuál</a:t>
            </a:r>
            <a:br>
              <a:rPr lang="cs-CZ" sz="3600" b="0">
                <a:solidFill>
                  <a:schemeClr val="tx1"/>
                </a:solidFill>
                <a:latin typeface="+mj-lt"/>
                <a:cs typeface="Segoe UI Semibold" panose="020B0502040204020203" pitchFamily="34" charset="0"/>
              </a:rPr>
            </a:br>
            <a:r>
              <a:rPr lang="cs-CZ" sz="3600" b="0">
                <a:solidFill>
                  <a:schemeClr val="tx1"/>
                </a:solidFill>
                <a:latin typeface="+mj-lt"/>
                <a:cs typeface="Segoe UI Semibold" panose="020B0502040204020203" pitchFamily="34" charset="0"/>
              </a:rPr>
              <a:t>pro tvorbu prezentací</a:t>
            </a:r>
            <a:endParaRPr lang="cs-CZ" sz="3600" b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63045448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vorba tabule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Obdélník 22">
            <a:extLst>
              <a:ext uri="{FF2B5EF4-FFF2-40B4-BE49-F238E27FC236}">
                <a16:creationId xmlns:a16="http://schemas.microsoft.com/office/drawing/2014/main" id="{24770CE1-71D9-46B2-AD7E-5BAC22703858}"/>
              </a:ext>
            </a:extLst>
          </p:cNvPr>
          <p:cNvSpPr/>
          <p:nvPr userDrawn="1"/>
        </p:nvSpPr>
        <p:spPr bwMode="gray">
          <a:xfrm>
            <a:off x="407988" y="404812"/>
            <a:ext cx="11376024" cy="6039549"/>
          </a:xfrm>
          <a:prstGeom prst="rect">
            <a:avLst/>
          </a:prstGeom>
          <a:solidFill>
            <a:schemeClr val="accent4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ctr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cs-CZ" sz="1400" dirty="0">
              <a:solidFill>
                <a:schemeClr val="bg1"/>
              </a:solidFill>
            </a:endParaRP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D31E4B0F-570B-4133-A53E-C8DD5C7734BA}"/>
              </a:ext>
            </a:extLst>
          </p:cNvPr>
          <p:cNvSpPr txBox="1"/>
          <p:nvPr userDrawn="1"/>
        </p:nvSpPr>
        <p:spPr>
          <a:xfrm>
            <a:off x="839788" y="764704"/>
            <a:ext cx="6097604" cy="541686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cs-CZ" sz="2400" b="0">
                <a:latin typeface="+mj-lt"/>
                <a:cs typeface="Segoe UI Semibold" panose="020B0502040204020203" pitchFamily="34" charset="0"/>
              </a:rPr>
              <a:t>Tvorba tabulek</a:t>
            </a:r>
          </a:p>
          <a:p>
            <a:endParaRPr lang="cs-CZ" sz="2400" b="0">
              <a:latin typeface="+mn-lt"/>
              <a:cs typeface="Segoe UI Semibold" panose="020B0502040204020203" pitchFamily="34" charset="0"/>
            </a:endParaRPr>
          </a:p>
          <a:p>
            <a:r>
              <a:rPr lang="cs-CZ" sz="1600">
                <a:latin typeface="+mn-lt"/>
                <a:cs typeface="Segoe UI Light" panose="020B0502040204020203" pitchFamily="34" charset="0"/>
              </a:rPr>
              <a:t>Při tvorbě PowerPoint tabulek dodržujeme barevnost ve škále šedé </a:t>
            </a:r>
          </a:p>
          <a:p>
            <a:r>
              <a:rPr lang="cs-CZ" sz="1600">
                <a:latin typeface="+mn-lt"/>
                <a:cs typeface="Segoe UI Light" panose="020B0502040204020203" pitchFamily="34" charset="0"/>
              </a:rPr>
              <a:t>s doplněním ve </a:t>
            </a:r>
            <a:r>
              <a:rPr lang="cs-CZ" sz="1600">
                <a:solidFill>
                  <a:schemeClr val="tx2"/>
                </a:solidFill>
                <a:latin typeface="+mj-lt"/>
                <a:cs typeface="Segoe UI Light" panose="020B0502040204020203" pitchFamily="34" charset="0"/>
              </a:rPr>
              <a:t>firemní zelené</a:t>
            </a:r>
            <a:r>
              <a:rPr lang="cs-CZ" sz="1600">
                <a:latin typeface="+mn-lt"/>
                <a:cs typeface="Segoe UI Light" panose="020B0502040204020203" pitchFamily="34" charset="0"/>
              </a:rPr>
              <a:t>. </a:t>
            </a:r>
          </a:p>
          <a:p>
            <a:r>
              <a:rPr lang="cs-CZ" sz="1600">
                <a:latin typeface="+mn-lt"/>
                <a:cs typeface="Segoe UI Light" panose="020B0502040204020203" pitchFamily="34" charset="0"/>
              </a:rPr>
              <a:t>Cílem je čistý a minimalistický vzhled bez nadbytečných efektů a prvků.</a:t>
            </a:r>
          </a:p>
          <a:p>
            <a:endParaRPr lang="cs-CZ" sz="1600">
              <a:latin typeface="+mn-lt"/>
              <a:cs typeface="Segoe UI Light" panose="020B0502040204020203" pitchFamily="34" charset="0"/>
            </a:endParaRPr>
          </a:p>
          <a:p>
            <a:endParaRPr lang="cs-CZ" sz="1600">
              <a:latin typeface="+mn-lt"/>
              <a:cs typeface="Segoe UI Light" panose="020B05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600">
                <a:latin typeface="+mn-lt"/>
                <a:cs typeface="Segoe UI Light" panose="020B0502040204020203" pitchFamily="34" charset="0"/>
              </a:rPr>
              <a:t>Firemní zelená barva:</a:t>
            </a:r>
          </a:p>
          <a:p>
            <a:r>
              <a:rPr lang="cs-CZ" sz="1600" b="0">
                <a:latin typeface="+mj-lt"/>
                <a:cs typeface="Segoe UI Light" panose="020B0502040204020203" pitchFamily="34" charset="0"/>
              </a:rPr>
              <a:t>RGB</a:t>
            </a:r>
            <a:r>
              <a:rPr lang="cs-CZ" sz="1600">
                <a:latin typeface="+mn-lt"/>
                <a:cs typeface="Segoe UI Light" panose="020B0502040204020203" pitchFamily="34" charset="0"/>
              </a:rPr>
              <a:t> 64/196/0</a:t>
            </a:r>
          </a:p>
          <a:p>
            <a:r>
              <a:rPr lang="cs-CZ" sz="1600" b="1">
                <a:latin typeface="+mj-lt"/>
                <a:cs typeface="Segoe UI Light" panose="020B0502040204020203" pitchFamily="34" charset="0"/>
              </a:rPr>
              <a:t>HEX</a:t>
            </a:r>
            <a:r>
              <a:rPr lang="cs-CZ" sz="1600">
                <a:latin typeface="+mn-lt"/>
                <a:cs typeface="Segoe UI Light" panose="020B0502040204020203" pitchFamily="34" charset="0"/>
              </a:rPr>
              <a:t> #40c400</a:t>
            </a:r>
          </a:p>
          <a:p>
            <a:endParaRPr lang="cs-CZ" sz="1600" b="0">
              <a:latin typeface="+mn-lt"/>
              <a:cs typeface="Segoe UI Light" panose="020B0502040204020203" pitchFamily="34" charset="0"/>
            </a:endParaRPr>
          </a:p>
          <a:p>
            <a:endParaRPr lang="cs-CZ" sz="1600" b="0">
              <a:latin typeface="+mn-lt"/>
              <a:cs typeface="Segoe UI Light" panose="020B0502040204020203" pitchFamily="34" charset="0"/>
            </a:endParaRPr>
          </a:p>
          <a:p>
            <a:endParaRPr lang="cs-CZ" sz="1600" b="0">
              <a:latin typeface="+mn-lt"/>
              <a:cs typeface="Segoe UI Light" panose="020B0502040204020203" pitchFamily="34" charset="0"/>
            </a:endParaRPr>
          </a:p>
          <a:p>
            <a:endParaRPr lang="cs-CZ" sz="1600" b="0">
              <a:latin typeface="+mn-lt"/>
              <a:cs typeface="Segoe UI Light" panose="020B0502040204020203" pitchFamily="34" charset="0"/>
            </a:endParaRPr>
          </a:p>
          <a:p>
            <a:endParaRPr lang="cs-CZ" sz="1600" b="0">
              <a:latin typeface="+mn-lt"/>
              <a:cs typeface="Segoe UI Light" panose="020B0502040204020203" pitchFamily="34" charset="0"/>
            </a:endParaRPr>
          </a:p>
          <a:p>
            <a:endParaRPr lang="cs-CZ" sz="1600" b="0">
              <a:latin typeface="+mn-lt"/>
              <a:cs typeface="Segoe UI Light" panose="020B0502040204020203" pitchFamily="34" charset="0"/>
            </a:endParaRPr>
          </a:p>
          <a:p>
            <a:endParaRPr lang="cs-CZ" sz="1600" b="0">
              <a:latin typeface="+mn-lt"/>
              <a:cs typeface="Segoe UI Light" panose="020B0502040204020203" pitchFamily="34" charset="0"/>
            </a:endParaRPr>
          </a:p>
          <a:p>
            <a:endParaRPr lang="cs-CZ" sz="1600" b="0">
              <a:latin typeface="+mn-lt"/>
              <a:cs typeface="Segoe UI Light" panose="020B0502040204020203" pitchFamily="34" charset="0"/>
            </a:endParaRPr>
          </a:p>
          <a:p>
            <a:endParaRPr lang="cs-CZ" sz="1600" b="0">
              <a:latin typeface="+mn-lt"/>
              <a:cs typeface="Segoe UI Light" panose="020B0502040204020203" pitchFamily="34" charset="0"/>
            </a:endParaRPr>
          </a:p>
          <a:p>
            <a:r>
              <a:rPr lang="cs-CZ" sz="1600">
                <a:solidFill>
                  <a:schemeClr val="tx1"/>
                </a:solidFill>
                <a:latin typeface="+mn-lt"/>
              </a:rPr>
              <a:t>Pro zvýraznění negativních/záporných hodnot, čísel, </a:t>
            </a:r>
            <a:br>
              <a:rPr lang="cs-CZ" sz="1600">
                <a:solidFill>
                  <a:schemeClr val="tx1"/>
                </a:solidFill>
                <a:latin typeface="+mn-lt"/>
              </a:rPr>
            </a:br>
            <a:r>
              <a:rPr lang="cs-CZ" sz="1600">
                <a:solidFill>
                  <a:schemeClr val="tx1"/>
                </a:solidFill>
                <a:latin typeface="+mn-lt"/>
              </a:rPr>
              <a:t>faktů apod. lze použít </a:t>
            </a:r>
            <a:r>
              <a:rPr lang="cs-CZ" sz="1600">
                <a:solidFill>
                  <a:srgbClr val="FF0000"/>
                </a:solidFill>
                <a:latin typeface="+mj-lt"/>
              </a:rPr>
              <a:t>červenou barvu</a:t>
            </a:r>
            <a:r>
              <a:rPr lang="cs-CZ" sz="1600">
                <a:solidFill>
                  <a:schemeClr val="tx1"/>
                </a:solidFill>
                <a:latin typeface="+mn-lt"/>
              </a:rPr>
              <a:t>.</a:t>
            </a:r>
            <a:endParaRPr lang="cs-CZ" sz="1600" b="0" dirty="0">
              <a:latin typeface="+mn-lt"/>
              <a:cs typeface="Segoe UI Semibold" panose="020B0502040204020203" pitchFamily="34" charset="0"/>
            </a:endParaRPr>
          </a:p>
        </p:txBody>
      </p:sp>
      <p:sp>
        <p:nvSpPr>
          <p:cNvPr id="3" name="Ovál 2">
            <a:extLst>
              <a:ext uri="{FF2B5EF4-FFF2-40B4-BE49-F238E27FC236}">
                <a16:creationId xmlns:a16="http://schemas.microsoft.com/office/drawing/2014/main" id="{D0030A25-8F4B-4C0C-B264-3AA36343BCEC}"/>
              </a:ext>
            </a:extLst>
          </p:cNvPr>
          <p:cNvSpPr/>
          <p:nvPr userDrawn="1"/>
        </p:nvSpPr>
        <p:spPr>
          <a:xfrm>
            <a:off x="839788" y="3954550"/>
            <a:ext cx="848412" cy="848412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latin typeface="Segoe UI Light" panose="020B0502040204020203" pitchFamily="34" charset="0"/>
            </a:endParaRPr>
          </a:p>
        </p:txBody>
      </p:sp>
      <p:sp>
        <p:nvSpPr>
          <p:cNvPr id="4" name="Ovál 3">
            <a:extLst>
              <a:ext uri="{FF2B5EF4-FFF2-40B4-BE49-F238E27FC236}">
                <a16:creationId xmlns:a16="http://schemas.microsoft.com/office/drawing/2014/main" id="{6BD613C2-AED9-49A6-9E36-16028FFFABAF}"/>
              </a:ext>
            </a:extLst>
          </p:cNvPr>
          <p:cNvSpPr/>
          <p:nvPr userDrawn="1"/>
        </p:nvSpPr>
        <p:spPr>
          <a:xfrm>
            <a:off x="2207568" y="3954550"/>
            <a:ext cx="848412" cy="848412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latin typeface="Segoe UI Light" panose="020B0502040204020203" pitchFamily="34" charset="0"/>
            </a:endParaRPr>
          </a:p>
        </p:txBody>
      </p:sp>
      <p:sp>
        <p:nvSpPr>
          <p:cNvPr id="5" name="Ovál 4">
            <a:extLst>
              <a:ext uri="{FF2B5EF4-FFF2-40B4-BE49-F238E27FC236}">
                <a16:creationId xmlns:a16="http://schemas.microsoft.com/office/drawing/2014/main" id="{0CE39B48-4064-4B44-B1BE-368CFFA914BD}"/>
              </a:ext>
            </a:extLst>
          </p:cNvPr>
          <p:cNvSpPr/>
          <p:nvPr userDrawn="1"/>
        </p:nvSpPr>
        <p:spPr>
          <a:xfrm>
            <a:off x="3575348" y="3954550"/>
            <a:ext cx="848412" cy="84841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latin typeface="Segoe UI Light" panose="020B0502040204020203" pitchFamily="34" charset="0"/>
            </a:endParaRPr>
          </a:p>
        </p:txBody>
      </p:sp>
      <p:sp>
        <p:nvSpPr>
          <p:cNvPr id="6" name="Ovál 5">
            <a:extLst>
              <a:ext uri="{FF2B5EF4-FFF2-40B4-BE49-F238E27FC236}">
                <a16:creationId xmlns:a16="http://schemas.microsoft.com/office/drawing/2014/main" id="{07FC3286-1F3F-41E1-B674-99EB65071B4F}"/>
              </a:ext>
            </a:extLst>
          </p:cNvPr>
          <p:cNvSpPr/>
          <p:nvPr userDrawn="1"/>
        </p:nvSpPr>
        <p:spPr>
          <a:xfrm>
            <a:off x="4943128" y="3954550"/>
            <a:ext cx="848412" cy="848412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latin typeface="Segoe UI Light" panose="020B0502040204020203" pitchFamily="34" charset="0"/>
            </a:endParaRPr>
          </a:p>
        </p:txBody>
      </p:sp>
      <p:sp>
        <p:nvSpPr>
          <p:cNvPr id="17" name="Ovál 16">
            <a:extLst>
              <a:ext uri="{FF2B5EF4-FFF2-40B4-BE49-F238E27FC236}">
                <a16:creationId xmlns:a16="http://schemas.microsoft.com/office/drawing/2014/main" id="{BD58E5C3-C953-45E0-A84E-99D3DABA3679}"/>
              </a:ext>
            </a:extLst>
          </p:cNvPr>
          <p:cNvSpPr/>
          <p:nvPr userDrawn="1"/>
        </p:nvSpPr>
        <p:spPr>
          <a:xfrm>
            <a:off x="6310908" y="3954550"/>
            <a:ext cx="848412" cy="848412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latin typeface="Segoe UI Light" panose="020B0502040204020203" pitchFamily="34" charset="0"/>
            </a:endParaRPr>
          </a:p>
        </p:txBody>
      </p:sp>
      <p:sp>
        <p:nvSpPr>
          <p:cNvPr id="19" name="Ovál 18">
            <a:extLst>
              <a:ext uri="{FF2B5EF4-FFF2-40B4-BE49-F238E27FC236}">
                <a16:creationId xmlns:a16="http://schemas.microsoft.com/office/drawing/2014/main" id="{4813A4ED-A9B2-466D-80EA-9C10C253FB7A}"/>
              </a:ext>
            </a:extLst>
          </p:cNvPr>
          <p:cNvSpPr/>
          <p:nvPr userDrawn="1"/>
        </p:nvSpPr>
        <p:spPr>
          <a:xfrm>
            <a:off x="3575348" y="2575940"/>
            <a:ext cx="848412" cy="848412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latin typeface="Segoe UI Light" panose="020B0502040204020203" pitchFamily="34" charset="0"/>
            </a:endParaRPr>
          </a:p>
        </p:txBody>
      </p:sp>
      <p:sp>
        <p:nvSpPr>
          <p:cNvPr id="13" name="Ovál 12">
            <a:extLst>
              <a:ext uri="{FF2B5EF4-FFF2-40B4-BE49-F238E27FC236}">
                <a16:creationId xmlns:a16="http://schemas.microsoft.com/office/drawing/2014/main" id="{F99F7A27-C4AF-4AE2-8D09-34686D431BB0}"/>
              </a:ext>
            </a:extLst>
          </p:cNvPr>
          <p:cNvSpPr/>
          <p:nvPr userDrawn="1"/>
        </p:nvSpPr>
        <p:spPr>
          <a:xfrm>
            <a:off x="6310908" y="5303138"/>
            <a:ext cx="848412" cy="84841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rgbClr val="FF0000"/>
              </a:solidFill>
              <a:latin typeface="Segoe UI Light" panose="020B0502040204020203" pitchFamily="34" charset="0"/>
            </a:endParaRPr>
          </a:p>
        </p:txBody>
      </p:sp>
      <p:pic>
        <p:nvPicPr>
          <p:cNvPr id="12" name="Obrázek 11">
            <a:extLst>
              <a:ext uri="{FF2B5EF4-FFF2-40B4-BE49-F238E27FC236}">
                <a16:creationId xmlns:a16="http://schemas.microsoft.com/office/drawing/2014/main" id="{ACCDF080-D68B-441B-B6DA-C2D285D567B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07368" y="6551539"/>
            <a:ext cx="216000" cy="201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908552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vorba grafů a diagramů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Obdélník 35">
            <a:extLst>
              <a:ext uri="{FF2B5EF4-FFF2-40B4-BE49-F238E27FC236}">
                <a16:creationId xmlns:a16="http://schemas.microsoft.com/office/drawing/2014/main" id="{F62BA5BE-9D51-4F79-AE01-3DCA64249183}"/>
              </a:ext>
            </a:extLst>
          </p:cNvPr>
          <p:cNvSpPr/>
          <p:nvPr userDrawn="1"/>
        </p:nvSpPr>
        <p:spPr bwMode="gray">
          <a:xfrm>
            <a:off x="407988" y="404812"/>
            <a:ext cx="11376024" cy="6039549"/>
          </a:xfrm>
          <a:prstGeom prst="rect">
            <a:avLst/>
          </a:prstGeom>
          <a:solidFill>
            <a:schemeClr val="accent4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ctr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cs-CZ" sz="1400" dirty="0">
              <a:solidFill>
                <a:schemeClr val="bg1"/>
              </a:solidFill>
            </a:endParaRP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D31E4B0F-570B-4133-A53E-C8DD5C7734BA}"/>
              </a:ext>
            </a:extLst>
          </p:cNvPr>
          <p:cNvSpPr txBox="1"/>
          <p:nvPr userDrawn="1"/>
        </p:nvSpPr>
        <p:spPr>
          <a:xfrm>
            <a:off x="839788" y="764704"/>
            <a:ext cx="6264324" cy="541686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cs-CZ" sz="2400" b="0">
                <a:latin typeface="+mj-lt"/>
                <a:cs typeface="Segoe UI Semibold" panose="020B0502040204020203" pitchFamily="34" charset="0"/>
              </a:rPr>
              <a:t>Tvorba grafů a diagramů</a:t>
            </a:r>
          </a:p>
          <a:p>
            <a:endParaRPr lang="cs-CZ" sz="2400" b="0">
              <a:latin typeface="+mn-lt"/>
              <a:cs typeface="Segoe UI Semibold" panose="020B0502040204020203" pitchFamily="34" charset="0"/>
            </a:endParaRPr>
          </a:p>
          <a:p>
            <a:r>
              <a:rPr lang="cs-CZ" sz="1600">
                <a:latin typeface="+mn-lt"/>
                <a:cs typeface="Segoe UI Light" panose="020B0502040204020203" pitchFamily="34" charset="0"/>
              </a:rPr>
              <a:t>Při tvorbě PowerPoint grafů pracujeme s barvami odvozených </a:t>
            </a:r>
            <a:br>
              <a:rPr lang="cs-CZ" sz="1600">
                <a:latin typeface="+mn-lt"/>
                <a:cs typeface="Segoe UI Light" panose="020B0502040204020203" pitchFamily="34" charset="0"/>
              </a:rPr>
            </a:br>
            <a:r>
              <a:rPr lang="cs-CZ" sz="1600">
                <a:latin typeface="+mn-lt"/>
                <a:cs typeface="Segoe UI Light" panose="020B0502040204020203" pitchFamily="34" charset="0"/>
              </a:rPr>
              <a:t>od </a:t>
            </a:r>
            <a:r>
              <a:rPr lang="cs-CZ" sz="1600">
                <a:solidFill>
                  <a:schemeClr val="tx2"/>
                </a:solidFill>
                <a:latin typeface="+mj-lt"/>
                <a:cs typeface="Segoe UI Light" panose="020B0502040204020203" pitchFamily="34" charset="0"/>
              </a:rPr>
              <a:t>firemní zelené </a:t>
            </a:r>
            <a:r>
              <a:rPr lang="cs-CZ" sz="1600">
                <a:latin typeface="+mn-lt"/>
                <a:cs typeface="Segoe UI Light" panose="020B0502040204020203" pitchFamily="34" charset="0"/>
              </a:rPr>
              <a:t>a stupňů šedé. Pro zvýraznění některých hodnot </a:t>
            </a:r>
            <a:br>
              <a:rPr lang="cs-CZ" sz="1600">
                <a:latin typeface="+mn-lt"/>
                <a:cs typeface="Segoe UI Light" panose="020B0502040204020203" pitchFamily="34" charset="0"/>
              </a:rPr>
            </a:br>
            <a:r>
              <a:rPr lang="cs-CZ" sz="1600">
                <a:latin typeface="+mn-lt"/>
                <a:cs typeface="Segoe UI Light" panose="020B0502040204020203" pitchFamily="34" charset="0"/>
              </a:rPr>
              <a:t>je možné použít i černobílé textury pro výplň segmentů grafu. </a:t>
            </a:r>
          </a:p>
          <a:p>
            <a:endParaRPr lang="cs-CZ" sz="1600">
              <a:latin typeface="+mn-lt"/>
              <a:cs typeface="Segoe UI Light" panose="020B0502040204020203" pitchFamily="34" charset="0"/>
            </a:endParaRPr>
          </a:p>
          <a:p>
            <a:endParaRPr lang="cs-CZ" sz="1600">
              <a:latin typeface="+mn-lt"/>
              <a:cs typeface="Segoe UI Light" panose="020B0502040204020203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1600">
                <a:latin typeface="+mn-lt"/>
                <a:cs typeface="Segoe UI Light" panose="020B0502040204020203" pitchFamily="34" charset="0"/>
              </a:rPr>
              <a:t>Firemní zelená barva:</a:t>
            </a:r>
          </a:p>
          <a:p>
            <a:r>
              <a:rPr lang="cs-CZ" sz="1600" b="0">
                <a:latin typeface="+mj-lt"/>
                <a:cs typeface="Segoe UI Light" panose="020B0502040204020203" pitchFamily="34" charset="0"/>
              </a:rPr>
              <a:t>RGB</a:t>
            </a:r>
            <a:r>
              <a:rPr lang="cs-CZ" sz="1600">
                <a:latin typeface="+mn-lt"/>
                <a:cs typeface="Segoe UI Light" panose="020B0502040204020203" pitchFamily="34" charset="0"/>
              </a:rPr>
              <a:t> 64/196/0</a:t>
            </a:r>
          </a:p>
          <a:p>
            <a:r>
              <a:rPr lang="cs-CZ" sz="1600" b="1">
                <a:latin typeface="+mj-lt"/>
                <a:cs typeface="Segoe UI Light" panose="020B0502040204020203" pitchFamily="34" charset="0"/>
              </a:rPr>
              <a:t>HEX</a:t>
            </a:r>
            <a:r>
              <a:rPr lang="cs-CZ" sz="1600">
                <a:latin typeface="+mn-lt"/>
                <a:cs typeface="Segoe UI Light" panose="020B0502040204020203" pitchFamily="34" charset="0"/>
              </a:rPr>
              <a:t> #40c400</a:t>
            </a:r>
          </a:p>
          <a:p>
            <a:endParaRPr lang="cs-CZ" sz="1600" b="0">
              <a:latin typeface="+mn-lt"/>
              <a:cs typeface="Segoe UI Semibold" panose="020B0502040204020203" pitchFamily="34" charset="0"/>
            </a:endParaRPr>
          </a:p>
          <a:p>
            <a:endParaRPr lang="cs-CZ" sz="1600" b="0">
              <a:latin typeface="+mn-lt"/>
              <a:cs typeface="Segoe UI Semibold" panose="020B0502040204020203" pitchFamily="34" charset="0"/>
            </a:endParaRPr>
          </a:p>
          <a:p>
            <a:endParaRPr lang="cs-CZ" sz="1600" b="0">
              <a:latin typeface="+mn-lt"/>
              <a:cs typeface="Segoe UI Semibold" panose="020B0502040204020203" pitchFamily="34" charset="0"/>
            </a:endParaRPr>
          </a:p>
          <a:p>
            <a:endParaRPr lang="cs-CZ" sz="1600" b="0">
              <a:latin typeface="+mn-lt"/>
              <a:cs typeface="Segoe UI Semibold" panose="020B0502040204020203" pitchFamily="34" charset="0"/>
            </a:endParaRPr>
          </a:p>
          <a:p>
            <a:endParaRPr lang="cs-CZ" sz="1600" b="0">
              <a:latin typeface="+mn-lt"/>
              <a:cs typeface="Segoe UI Semibold" panose="020B0502040204020203" pitchFamily="34" charset="0"/>
            </a:endParaRPr>
          </a:p>
          <a:p>
            <a:endParaRPr lang="cs-CZ" sz="1600" b="0">
              <a:latin typeface="+mn-lt"/>
              <a:cs typeface="Segoe UI Semibold" panose="020B0502040204020203" pitchFamily="34" charset="0"/>
            </a:endParaRPr>
          </a:p>
          <a:p>
            <a:endParaRPr lang="cs-CZ" sz="1600" b="0">
              <a:latin typeface="+mn-lt"/>
              <a:cs typeface="Segoe UI Semibold" panose="020B0502040204020203" pitchFamily="34" charset="0"/>
            </a:endParaRPr>
          </a:p>
          <a:p>
            <a:endParaRPr lang="cs-CZ" sz="1600" b="0">
              <a:latin typeface="+mn-lt"/>
              <a:cs typeface="Segoe UI Semibold" panose="020B0502040204020203" pitchFamily="34" charset="0"/>
            </a:endParaRPr>
          </a:p>
          <a:p>
            <a:endParaRPr lang="cs-CZ" sz="1600" b="0">
              <a:latin typeface="+mn-lt"/>
              <a:cs typeface="Segoe UI Semibold" panose="020B0502040204020203" pitchFamily="34" charset="0"/>
            </a:endParaRPr>
          </a:p>
          <a:p>
            <a:r>
              <a:rPr lang="cs-CZ" sz="1600">
                <a:solidFill>
                  <a:schemeClr val="tx1"/>
                </a:solidFill>
                <a:latin typeface="+mn-lt"/>
              </a:rPr>
              <a:t>Pro zvýraznění negativních/záporných hodnot, čísel, faktů apod. </a:t>
            </a:r>
            <a:br>
              <a:rPr lang="cs-CZ" sz="1600">
                <a:solidFill>
                  <a:schemeClr val="tx1"/>
                </a:solidFill>
                <a:latin typeface="+mn-lt"/>
              </a:rPr>
            </a:br>
            <a:r>
              <a:rPr lang="cs-CZ" sz="1600">
                <a:solidFill>
                  <a:schemeClr val="tx1"/>
                </a:solidFill>
                <a:latin typeface="+mn-lt"/>
              </a:rPr>
              <a:t>lze použít </a:t>
            </a:r>
            <a:r>
              <a:rPr lang="cs-CZ" sz="1600">
                <a:solidFill>
                  <a:srgbClr val="FF0000"/>
                </a:solidFill>
                <a:latin typeface="+mj-lt"/>
              </a:rPr>
              <a:t>červenou barvu</a:t>
            </a:r>
            <a:r>
              <a:rPr lang="cs-CZ" sz="1600">
                <a:solidFill>
                  <a:schemeClr val="tx1"/>
                </a:solidFill>
                <a:latin typeface="+mn-lt"/>
              </a:rPr>
              <a:t>.</a:t>
            </a:r>
            <a:endParaRPr lang="cs-CZ" sz="1600" b="0" dirty="0">
              <a:latin typeface="+mn-lt"/>
              <a:cs typeface="Segoe UI Semibold" panose="020B0502040204020203" pitchFamily="34" charset="0"/>
            </a:endParaRPr>
          </a:p>
        </p:txBody>
      </p:sp>
      <p:sp>
        <p:nvSpPr>
          <p:cNvPr id="12" name="Ovál 11">
            <a:extLst>
              <a:ext uri="{FF2B5EF4-FFF2-40B4-BE49-F238E27FC236}">
                <a16:creationId xmlns:a16="http://schemas.microsoft.com/office/drawing/2014/main" id="{D7E412BC-56E8-4E87-9AD4-91B726702FDC}"/>
              </a:ext>
            </a:extLst>
          </p:cNvPr>
          <p:cNvSpPr/>
          <p:nvPr userDrawn="1"/>
        </p:nvSpPr>
        <p:spPr>
          <a:xfrm>
            <a:off x="2207568" y="3956874"/>
            <a:ext cx="848412" cy="848412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latin typeface="Segoe UI Light" panose="020B0502040204020203" pitchFamily="34" charset="0"/>
            </a:endParaRPr>
          </a:p>
        </p:txBody>
      </p:sp>
      <p:sp>
        <p:nvSpPr>
          <p:cNvPr id="13" name="Ovál 12">
            <a:extLst>
              <a:ext uri="{FF2B5EF4-FFF2-40B4-BE49-F238E27FC236}">
                <a16:creationId xmlns:a16="http://schemas.microsoft.com/office/drawing/2014/main" id="{AA15344C-80FD-443B-A6AC-21121A7218DC}"/>
              </a:ext>
            </a:extLst>
          </p:cNvPr>
          <p:cNvSpPr/>
          <p:nvPr userDrawn="1"/>
        </p:nvSpPr>
        <p:spPr>
          <a:xfrm>
            <a:off x="3575348" y="3956874"/>
            <a:ext cx="848412" cy="848412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latin typeface="Segoe UI Light" panose="020B0502040204020203" pitchFamily="34" charset="0"/>
            </a:endParaRPr>
          </a:p>
        </p:txBody>
      </p:sp>
      <p:sp>
        <p:nvSpPr>
          <p:cNvPr id="15" name="Ovál 14">
            <a:extLst>
              <a:ext uri="{FF2B5EF4-FFF2-40B4-BE49-F238E27FC236}">
                <a16:creationId xmlns:a16="http://schemas.microsoft.com/office/drawing/2014/main" id="{76081FC3-6FEA-45C8-BB0B-4583733B0E88}"/>
              </a:ext>
            </a:extLst>
          </p:cNvPr>
          <p:cNvSpPr/>
          <p:nvPr userDrawn="1"/>
        </p:nvSpPr>
        <p:spPr>
          <a:xfrm>
            <a:off x="3575348" y="2580588"/>
            <a:ext cx="848412" cy="848412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latin typeface="Segoe UI Light" panose="020B0502040204020203" pitchFamily="34" charset="0"/>
            </a:endParaRPr>
          </a:p>
        </p:txBody>
      </p:sp>
      <p:sp>
        <p:nvSpPr>
          <p:cNvPr id="23" name="Ovál 22">
            <a:extLst>
              <a:ext uri="{FF2B5EF4-FFF2-40B4-BE49-F238E27FC236}">
                <a16:creationId xmlns:a16="http://schemas.microsoft.com/office/drawing/2014/main" id="{7D45D231-FEAB-4F3E-88AB-2BBF2A53CD51}"/>
              </a:ext>
            </a:extLst>
          </p:cNvPr>
          <p:cNvSpPr/>
          <p:nvPr userDrawn="1"/>
        </p:nvSpPr>
        <p:spPr>
          <a:xfrm>
            <a:off x="7674898" y="2571423"/>
            <a:ext cx="848412" cy="848412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latin typeface="Segoe UI Light" panose="020B0502040204020203" pitchFamily="34" charset="0"/>
            </a:endParaRPr>
          </a:p>
        </p:txBody>
      </p:sp>
      <p:sp>
        <p:nvSpPr>
          <p:cNvPr id="25" name="Ovál 24">
            <a:extLst>
              <a:ext uri="{FF2B5EF4-FFF2-40B4-BE49-F238E27FC236}">
                <a16:creationId xmlns:a16="http://schemas.microsoft.com/office/drawing/2014/main" id="{A2BF9411-3A01-4CA9-B24B-C7DB3DA0563A}"/>
              </a:ext>
            </a:extLst>
          </p:cNvPr>
          <p:cNvSpPr/>
          <p:nvPr userDrawn="1"/>
        </p:nvSpPr>
        <p:spPr>
          <a:xfrm>
            <a:off x="6309013" y="3956874"/>
            <a:ext cx="848412" cy="848412"/>
          </a:xfrm>
          <a:prstGeom prst="ellipse">
            <a:avLst/>
          </a:prstGeom>
          <a:pattFill prst="ltUpDiag">
            <a:fgClr>
              <a:schemeClr val="tx1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latin typeface="Segoe UI Light" panose="020B0502040204020203" pitchFamily="34" charset="0"/>
            </a:endParaRPr>
          </a:p>
        </p:txBody>
      </p:sp>
      <p:sp>
        <p:nvSpPr>
          <p:cNvPr id="27" name="Ovál 26">
            <a:extLst>
              <a:ext uri="{FF2B5EF4-FFF2-40B4-BE49-F238E27FC236}">
                <a16:creationId xmlns:a16="http://schemas.microsoft.com/office/drawing/2014/main" id="{A025601C-53B1-4B64-95F4-4EFA402FF0AF}"/>
              </a:ext>
            </a:extLst>
          </p:cNvPr>
          <p:cNvSpPr/>
          <p:nvPr userDrawn="1"/>
        </p:nvSpPr>
        <p:spPr>
          <a:xfrm>
            <a:off x="7674898" y="3956874"/>
            <a:ext cx="848412" cy="848412"/>
          </a:xfrm>
          <a:prstGeom prst="ellipse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latin typeface="Segoe UI Light" panose="020B0502040204020203" pitchFamily="34" charset="0"/>
            </a:endParaRPr>
          </a:p>
        </p:txBody>
      </p:sp>
      <p:sp>
        <p:nvSpPr>
          <p:cNvPr id="29" name="Ovál 28">
            <a:extLst>
              <a:ext uri="{FF2B5EF4-FFF2-40B4-BE49-F238E27FC236}">
                <a16:creationId xmlns:a16="http://schemas.microsoft.com/office/drawing/2014/main" id="{F953838A-F0E2-4E24-B819-69DCBA0DBDC3}"/>
              </a:ext>
            </a:extLst>
          </p:cNvPr>
          <p:cNvSpPr/>
          <p:nvPr userDrawn="1"/>
        </p:nvSpPr>
        <p:spPr>
          <a:xfrm>
            <a:off x="4943128" y="3956874"/>
            <a:ext cx="848412" cy="848412"/>
          </a:xfrm>
          <a:prstGeom prst="ellipse">
            <a:avLst/>
          </a:prstGeom>
          <a:pattFill prst="dashVert">
            <a:fgClr>
              <a:schemeClr val="tx1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latin typeface="Segoe UI Light" panose="020B0502040204020203" pitchFamily="34" charset="0"/>
            </a:endParaRPr>
          </a:p>
        </p:txBody>
      </p:sp>
      <p:sp>
        <p:nvSpPr>
          <p:cNvPr id="32" name="Ovál 31">
            <a:extLst>
              <a:ext uri="{FF2B5EF4-FFF2-40B4-BE49-F238E27FC236}">
                <a16:creationId xmlns:a16="http://schemas.microsoft.com/office/drawing/2014/main" id="{480482DD-633E-447C-A790-E5A21B0689A1}"/>
              </a:ext>
            </a:extLst>
          </p:cNvPr>
          <p:cNvSpPr/>
          <p:nvPr userDrawn="1"/>
        </p:nvSpPr>
        <p:spPr>
          <a:xfrm>
            <a:off x="839788" y="3956874"/>
            <a:ext cx="848412" cy="848412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latin typeface="Segoe UI Light" panose="020B0502040204020203" pitchFamily="34" charset="0"/>
            </a:endParaRPr>
          </a:p>
        </p:txBody>
      </p:sp>
      <p:sp>
        <p:nvSpPr>
          <p:cNvPr id="16" name="Ovál 15">
            <a:extLst>
              <a:ext uri="{FF2B5EF4-FFF2-40B4-BE49-F238E27FC236}">
                <a16:creationId xmlns:a16="http://schemas.microsoft.com/office/drawing/2014/main" id="{7D341A80-16B6-4584-A187-815EE46153BD}"/>
              </a:ext>
            </a:extLst>
          </p:cNvPr>
          <p:cNvSpPr/>
          <p:nvPr userDrawn="1"/>
        </p:nvSpPr>
        <p:spPr>
          <a:xfrm>
            <a:off x="7674898" y="5293968"/>
            <a:ext cx="848412" cy="848412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latin typeface="Segoe UI Light" panose="020B0502040204020203" pitchFamily="34" charset="0"/>
            </a:endParaRPr>
          </a:p>
        </p:txBody>
      </p:sp>
      <p:pic>
        <p:nvPicPr>
          <p:cNvPr id="14" name="Obrázek 13">
            <a:extLst>
              <a:ext uri="{FF2B5EF4-FFF2-40B4-BE49-F238E27FC236}">
                <a16:creationId xmlns:a16="http://schemas.microsoft.com/office/drawing/2014/main" id="{CFB7A65C-5855-4761-AE85-00930FE2A26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07368" y="6551539"/>
            <a:ext cx="216000" cy="201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61473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vorba hypertextových odkazů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Obdélník 35">
            <a:extLst>
              <a:ext uri="{FF2B5EF4-FFF2-40B4-BE49-F238E27FC236}">
                <a16:creationId xmlns:a16="http://schemas.microsoft.com/office/drawing/2014/main" id="{F62BA5BE-9D51-4F79-AE01-3DCA64249183}"/>
              </a:ext>
            </a:extLst>
          </p:cNvPr>
          <p:cNvSpPr/>
          <p:nvPr userDrawn="1"/>
        </p:nvSpPr>
        <p:spPr bwMode="gray">
          <a:xfrm>
            <a:off x="407988" y="404812"/>
            <a:ext cx="11376024" cy="6039549"/>
          </a:xfrm>
          <a:prstGeom prst="rect">
            <a:avLst/>
          </a:prstGeom>
          <a:solidFill>
            <a:schemeClr val="accent4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ctr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cs-CZ" sz="1400" dirty="0">
              <a:solidFill>
                <a:schemeClr val="bg1"/>
              </a:solidFill>
            </a:endParaRP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D31E4B0F-570B-4133-A53E-C8DD5C7734BA}"/>
              </a:ext>
            </a:extLst>
          </p:cNvPr>
          <p:cNvSpPr txBox="1"/>
          <p:nvPr userDrawn="1"/>
        </p:nvSpPr>
        <p:spPr>
          <a:xfrm>
            <a:off x="839788" y="764704"/>
            <a:ext cx="10491902" cy="258532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cs-CZ" sz="2400" b="0">
                <a:latin typeface="+mj-lt"/>
                <a:cs typeface="Segoe UI Semibold" panose="020B0502040204020203" pitchFamily="34" charset="0"/>
              </a:rPr>
              <a:t>Tvorba hypertextových odkazů na snímku Osnova prezentace</a:t>
            </a:r>
          </a:p>
          <a:p>
            <a:endParaRPr lang="cs-CZ" sz="2400" b="0">
              <a:latin typeface="+mn-lt"/>
              <a:cs typeface="Segoe UI Semibold" panose="020B0502040204020203" pitchFamily="34" charset="0"/>
            </a:endParaRPr>
          </a:p>
          <a:p>
            <a:pPr>
              <a:spcAft>
                <a:spcPts val="1200"/>
              </a:spcAft>
            </a:pPr>
            <a:r>
              <a:rPr lang="cs-CZ" sz="1600">
                <a:latin typeface="+mn-lt"/>
                <a:cs typeface="Segoe UI Light" panose="020B0502040204020203" pitchFamily="34" charset="0"/>
              </a:rPr>
              <a:t>Na snímku číslo 6 Osnova prezentace jsou vloženy hypertextové odkazy k jednotlivým názvům kapitol.</a:t>
            </a:r>
          </a:p>
          <a:p>
            <a:pPr lvl="1">
              <a:spcAft>
                <a:spcPts val="1200"/>
              </a:spcAft>
            </a:pPr>
            <a:r>
              <a:rPr lang="cs-CZ" sz="1600">
                <a:latin typeface="+mn-lt"/>
                <a:cs typeface="Segoe UI Light" panose="020B0502040204020203" pitchFamily="34" charset="0"/>
              </a:rPr>
              <a:t>Je nutné kliknout na požadovaný „Název kapitoly“ a stisknout klávesovou zkratku CTRL + K.</a:t>
            </a:r>
          </a:p>
          <a:p>
            <a:pPr lvl="1">
              <a:spcAft>
                <a:spcPts val="1200"/>
              </a:spcAft>
            </a:pPr>
            <a:r>
              <a:rPr lang="cs-CZ" sz="1600">
                <a:latin typeface="+mn-lt"/>
                <a:cs typeface="Segoe UI Light" panose="020B0502040204020203" pitchFamily="34" charset="0"/>
              </a:rPr>
              <a:t>Potom vybrat snímek, na který chceme odkázat, a         přepsat „Název kapitoly“ v kolonce „Zobrazený text:“,</a:t>
            </a:r>
          </a:p>
          <a:p>
            <a:pPr lvl="1">
              <a:spcAft>
                <a:spcPts val="1200"/>
              </a:spcAft>
            </a:pPr>
            <a:r>
              <a:rPr lang="cs-CZ" sz="1600">
                <a:latin typeface="+mn-lt"/>
                <a:cs typeface="Segoe UI Light" panose="020B0502040204020203" pitchFamily="34" charset="0"/>
              </a:rPr>
              <a:t>popřípadě stisknout tlačítko „Popis...“ a vepsat text, který se zobrazí při najetí myši na odkaz.</a:t>
            </a:r>
          </a:p>
          <a:p>
            <a:r>
              <a:rPr lang="cs-CZ" sz="1600">
                <a:latin typeface="+mn-lt"/>
                <a:cs typeface="Segoe UI Light" panose="020B0502040204020203" pitchFamily="34" charset="0"/>
              </a:rPr>
              <a:t>Přechod na daný snímek potom funguje pomocí stisknutí klávesy CTRL + kliknutí myší na danou kapitolu.</a:t>
            </a:r>
          </a:p>
        </p:txBody>
      </p:sp>
      <p:pic>
        <p:nvPicPr>
          <p:cNvPr id="4" name="Obrázek 3">
            <a:extLst>
              <a:ext uri="{FF2B5EF4-FFF2-40B4-BE49-F238E27FC236}">
                <a16:creationId xmlns:a16="http://schemas.microsoft.com/office/drawing/2014/main" id="{BADEF6AA-CB79-4FE6-905F-CB26CDC93F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2750" t="14188" r="41653" b="30216"/>
          <a:stretch/>
        </p:blipFill>
        <p:spPr>
          <a:xfrm>
            <a:off x="830279" y="3710297"/>
            <a:ext cx="4713737" cy="2650792"/>
          </a:xfrm>
          <a:prstGeom prst="rect">
            <a:avLst/>
          </a:prstGeom>
          <a:ln>
            <a:solidFill>
              <a:schemeClr val="tx2"/>
            </a:solidFill>
          </a:ln>
        </p:spPr>
      </p:pic>
      <p:pic>
        <p:nvPicPr>
          <p:cNvPr id="6" name="Obrázek 5">
            <a:extLst>
              <a:ext uri="{FF2B5EF4-FFF2-40B4-BE49-F238E27FC236}">
                <a16:creationId xmlns:a16="http://schemas.microsoft.com/office/drawing/2014/main" id="{5B7E33E9-8149-483D-B0C7-54D3417699F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15491" t="15491" r="32825" b="32825"/>
          <a:stretch/>
        </p:blipFill>
        <p:spPr>
          <a:xfrm>
            <a:off x="6530560" y="3710297"/>
            <a:ext cx="4713652" cy="2650792"/>
          </a:xfrm>
          <a:prstGeom prst="rect">
            <a:avLst/>
          </a:prstGeom>
          <a:ln>
            <a:solidFill>
              <a:schemeClr val="tx2"/>
            </a:solidFill>
          </a:ln>
        </p:spPr>
      </p:pic>
      <p:sp>
        <p:nvSpPr>
          <p:cNvPr id="20" name="Ovál 19">
            <a:extLst>
              <a:ext uri="{FF2B5EF4-FFF2-40B4-BE49-F238E27FC236}">
                <a16:creationId xmlns:a16="http://schemas.microsoft.com/office/drawing/2014/main" id="{E9478123-ECC2-474C-9ECE-D934CA761D65}"/>
              </a:ext>
            </a:extLst>
          </p:cNvPr>
          <p:cNvSpPr/>
          <p:nvPr userDrawn="1"/>
        </p:nvSpPr>
        <p:spPr bwMode="gray">
          <a:xfrm>
            <a:off x="837930" y="2243646"/>
            <a:ext cx="360000" cy="360000"/>
          </a:xfrm>
          <a:prstGeom prst="ellipse">
            <a:avLst/>
          </a:prstGeom>
          <a:solidFill>
            <a:schemeClr val="accent2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</a:pPr>
            <a:r>
              <a:rPr lang="cs-CZ" sz="1400">
                <a:solidFill>
                  <a:schemeClr val="bg1"/>
                </a:solidFill>
                <a:latin typeface="+mj-lt"/>
              </a:rPr>
              <a:t>2</a:t>
            </a:r>
            <a:endParaRPr lang="cs-CZ" sz="14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2" name="Ovál 21">
            <a:extLst>
              <a:ext uri="{FF2B5EF4-FFF2-40B4-BE49-F238E27FC236}">
                <a16:creationId xmlns:a16="http://schemas.microsoft.com/office/drawing/2014/main" id="{D32F2BA7-DDD2-45A3-8BAD-A8CA1C0273A2}"/>
              </a:ext>
            </a:extLst>
          </p:cNvPr>
          <p:cNvSpPr/>
          <p:nvPr userDrawn="1"/>
        </p:nvSpPr>
        <p:spPr bwMode="gray">
          <a:xfrm>
            <a:off x="829669" y="2642428"/>
            <a:ext cx="360000" cy="360000"/>
          </a:xfrm>
          <a:prstGeom prst="ellipse">
            <a:avLst/>
          </a:prstGeom>
          <a:solidFill>
            <a:schemeClr val="accent2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</a:pPr>
            <a:r>
              <a:rPr lang="cs-CZ" sz="1400">
                <a:solidFill>
                  <a:schemeClr val="bg1"/>
                </a:solidFill>
                <a:latin typeface="+mj-lt"/>
              </a:rPr>
              <a:t>4</a:t>
            </a:r>
            <a:endParaRPr lang="cs-CZ" sz="14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4" name="Ovál 33">
            <a:extLst>
              <a:ext uri="{FF2B5EF4-FFF2-40B4-BE49-F238E27FC236}">
                <a16:creationId xmlns:a16="http://schemas.microsoft.com/office/drawing/2014/main" id="{7944EA6D-50C8-40B0-A268-21C163A14FD5}"/>
              </a:ext>
            </a:extLst>
          </p:cNvPr>
          <p:cNvSpPr/>
          <p:nvPr userDrawn="1"/>
        </p:nvSpPr>
        <p:spPr bwMode="gray">
          <a:xfrm>
            <a:off x="5591944" y="2243646"/>
            <a:ext cx="360000" cy="360000"/>
          </a:xfrm>
          <a:prstGeom prst="ellipse">
            <a:avLst/>
          </a:prstGeom>
          <a:solidFill>
            <a:schemeClr val="accent2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</a:pPr>
            <a:r>
              <a:rPr lang="cs-CZ" sz="1400">
                <a:solidFill>
                  <a:schemeClr val="bg1"/>
                </a:solidFill>
                <a:latin typeface="+mj-lt"/>
              </a:rPr>
              <a:t>3</a:t>
            </a:r>
            <a:endParaRPr lang="cs-CZ" sz="14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7" name="Ovál 36">
            <a:extLst>
              <a:ext uri="{FF2B5EF4-FFF2-40B4-BE49-F238E27FC236}">
                <a16:creationId xmlns:a16="http://schemas.microsoft.com/office/drawing/2014/main" id="{8FA63BDB-7477-4234-836E-7C4C571A36B1}"/>
              </a:ext>
            </a:extLst>
          </p:cNvPr>
          <p:cNvSpPr/>
          <p:nvPr userDrawn="1"/>
        </p:nvSpPr>
        <p:spPr bwMode="gray">
          <a:xfrm>
            <a:off x="839788" y="1844864"/>
            <a:ext cx="360000" cy="360000"/>
          </a:xfrm>
          <a:prstGeom prst="ellipse">
            <a:avLst/>
          </a:prstGeom>
          <a:solidFill>
            <a:schemeClr val="accent2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</a:pPr>
            <a:r>
              <a:rPr lang="cs-CZ" sz="1400">
                <a:solidFill>
                  <a:schemeClr val="bg1"/>
                </a:solidFill>
                <a:latin typeface="+mj-lt"/>
              </a:rPr>
              <a:t>1</a:t>
            </a:r>
            <a:endParaRPr lang="cs-CZ" sz="14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8" name="Ovál 37">
            <a:extLst>
              <a:ext uri="{FF2B5EF4-FFF2-40B4-BE49-F238E27FC236}">
                <a16:creationId xmlns:a16="http://schemas.microsoft.com/office/drawing/2014/main" id="{DDA4A373-C679-490A-8C46-5521BFA81457}"/>
              </a:ext>
            </a:extLst>
          </p:cNvPr>
          <p:cNvSpPr/>
          <p:nvPr userDrawn="1"/>
        </p:nvSpPr>
        <p:spPr bwMode="gray">
          <a:xfrm>
            <a:off x="3143672" y="5445224"/>
            <a:ext cx="360000" cy="360000"/>
          </a:xfrm>
          <a:prstGeom prst="ellipse">
            <a:avLst/>
          </a:prstGeom>
          <a:solidFill>
            <a:schemeClr val="accent2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</a:pPr>
            <a:r>
              <a:rPr lang="cs-CZ" sz="1400">
                <a:solidFill>
                  <a:schemeClr val="bg1"/>
                </a:solidFill>
                <a:latin typeface="+mj-lt"/>
              </a:rPr>
              <a:t>1</a:t>
            </a:r>
            <a:endParaRPr lang="cs-CZ" sz="14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9" name="Ovál 38">
            <a:extLst>
              <a:ext uri="{FF2B5EF4-FFF2-40B4-BE49-F238E27FC236}">
                <a16:creationId xmlns:a16="http://schemas.microsoft.com/office/drawing/2014/main" id="{B83D383B-05C6-47FD-966B-8B0F6DC740CE}"/>
              </a:ext>
            </a:extLst>
          </p:cNvPr>
          <p:cNvSpPr/>
          <p:nvPr userDrawn="1"/>
        </p:nvSpPr>
        <p:spPr bwMode="gray">
          <a:xfrm>
            <a:off x="8184232" y="4723468"/>
            <a:ext cx="360000" cy="360000"/>
          </a:xfrm>
          <a:prstGeom prst="ellipse">
            <a:avLst/>
          </a:prstGeom>
          <a:solidFill>
            <a:schemeClr val="accent2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</a:pPr>
            <a:r>
              <a:rPr lang="cs-CZ" sz="1400">
                <a:solidFill>
                  <a:schemeClr val="bg1"/>
                </a:solidFill>
                <a:latin typeface="+mj-lt"/>
              </a:rPr>
              <a:t>2</a:t>
            </a:r>
            <a:endParaRPr lang="cs-CZ" sz="14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40" name="Ovál 39">
            <a:extLst>
              <a:ext uri="{FF2B5EF4-FFF2-40B4-BE49-F238E27FC236}">
                <a16:creationId xmlns:a16="http://schemas.microsoft.com/office/drawing/2014/main" id="{18BCC068-EAA3-4F6D-8604-6D387D90A0F2}"/>
              </a:ext>
            </a:extLst>
          </p:cNvPr>
          <p:cNvSpPr/>
          <p:nvPr userDrawn="1"/>
        </p:nvSpPr>
        <p:spPr bwMode="gray">
          <a:xfrm>
            <a:off x="7896200" y="4003198"/>
            <a:ext cx="360000" cy="360000"/>
          </a:xfrm>
          <a:prstGeom prst="ellipse">
            <a:avLst/>
          </a:prstGeom>
          <a:solidFill>
            <a:schemeClr val="accent2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</a:pPr>
            <a:r>
              <a:rPr lang="cs-CZ" sz="1400">
                <a:solidFill>
                  <a:schemeClr val="bg1"/>
                </a:solidFill>
                <a:latin typeface="+mj-lt"/>
              </a:rPr>
              <a:t>3</a:t>
            </a:r>
            <a:endParaRPr lang="cs-CZ" sz="14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41" name="Ovál 40">
            <a:extLst>
              <a:ext uri="{FF2B5EF4-FFF2-40B4-BE49-F238E27FC236}">
                <a16:creationId xmlns:a16="http://schemas.microsoft.com/office/drawing/2014/main" id="{2CC98B8C-D43E-44DA-B65D-202DE13163E7}"/>
              </a:ext>
            </a:extLst>
          </p:cNvPr>
          <p:cNvSpPr/>
          <p:nvPr userDrawn="1"/>
        </p:nvSpPr>
        <p:spPr bwMode="gray">
          <a:xfrm>
            <a:off x="10488488" y="4368559"/>
            <a:ext cx="360000" cy="360000"/>
          </a:xfrm>
          <a:prstGeom prst="ellipse">
            <a:avLst/>
          </a:prstGeom>
          <a:solidFill>
            <a:schemeClr val="accent2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</a:pPr>
            <a:r>
              <a:rPr lang="cs-CZ" sz="1400">
                <a:solidFill>
                  <a:schemeClr val="bg1"/>
                </a:solidFill>
                <a:latin typeface="+mj-lt"/>
              </a:rPr>
              <a:t>4</a:t>
            </a:r>
            <a:endParaRPr lang="cs-CZ" sz="1400" dirty="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15" name="Obrázek 14">
            <a:extLst>
              <a:ext uri="{FF2B5EF4-FFF2-40B4-BE49-F238E27FC236}">
                <a16:creationId xmlns:a16="http://schemas.microsoft.com/office/drawing/2014/main" id="{B89C170E-0AF8-46C0-B4EF-49FBC9A52EF0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407368" y="6551539"/>
            <a:ext cx="216000" cy="201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26269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snov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délník 3">
            <a:extLst>
              <a:ext uri="{FF2B5EF4-FFF2-40B4-BE49-F238E27FC236}">
                <a16:creationId xmlns:a16="http://schemas.microsoft.com/office/drawing/2014/main" id="{DFDE3A5C-9B86-49C5-A46D-1DF1A1AE325E}"/>
              </a:ext>
            </a:extLst>
          </p:cNvPr>
          <p:cNvSpPr/>
          <p:nvPr userDrawn="1"/>
        </p:nvSpPr>
        <p:spPr bwMode="gray">
          <a:xfrm>
            <a:off x="407988" y="413490"/>
            <a:ext cx="11376024" cy="6039698"/>
          </a:xfrm>
          <a:prstGeom prst="rect">
            <a:avLst/>
          </a:prstGeom>
          <a:solidFill>
            <a:schemeClr val="accent4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ctr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cs-CZ" sz="1400" dirty="0">
              <a:solidFill>
                <a:schemeClr val="bg1"/>
              </a:solidFill>
            </a:endParaRPr>
          </a:p>
        </p:txBody>
      </p:sp>
      <p:sp>
        <p:nvSpPr>
          <p:cNvPr id="5" name="Nadpis 1">
            <a:extLst>
              <a:ext uri="{FF2B5EF4-FFF2-40B4-BE49-F238E27FC236}">
                <a16:creationId xmlns:a16="http://schemas.microsoft.com/office/drawing/2014/main" id="{796EBFAC-CAED-4598-863A-8919FF007B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40592" y="1368000"/>
            <a:ext cx="10584000" cy="1772968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48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cs-CZ"/>
              <a:t>Osnova</a:t>
            </a:r>
            <a:br>
              <a:rPr lang="cs-CZ"/>
            </a:br>
            <a:r>
              <a:rPr lang="cs-CZ"/>
              <a:t>prezentace</a:t>
            </a:r>
          </a:p>
        </p:txBody>
      </p:sp>
      <p:sp>
        <p:nvSpPr>
          <p:cNvPr id="6" name="Zástupný text 3">
            <a:extLst>
              <a:ext uri="{FF2B5EF4-FFF2-40B4-BE49-F238E27FC236}">
                <a16:creationId xmlns:a16="http://schemas.microsoft.com/office/drawing/2014/main" id="{8AC5C527-0CFA-4DCB-B224-AFAB5FD6B23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390888" y="3483007"/>
            <a:ext cx="3960000" cy="28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600" b="0" u="none">
                <a:solidFill>
                  <a:schemeClr val="tx1"/>
                </a:solidFill>
                <a:latin typeface="+mj-lt"/>
                <a:cs typeface="Segoe UI" panose="020B0502040204020203" pitchFamily="34" charset="0"/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cs-CZ"/>
              <a:t>Název kapitoly</a:t>
            </a:r>
          </a:p>
        </p:txBody>
      </p:sp>
      <p:sp>
        <p:nvSpPr>
          <p:cNvPr id="10" name="Zástupný symbol pro číslo snímku 2">
            <a:extLst>
              <a:ext uri="{FF2B5EF4-FFF2-40B4-BE49-F238E27FC236}">
                <a16:creationId xmlns:a16="http://schemas.microsoft.com/office/drawing/2014/main" id="{C1A9195A-00E1-4FE2-90BF-6A8F2A2F04A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40000" y="6551999"/>
            <a:ext cx="4320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900">
                <a:solidFill>
                  <a:schemeClr val="tx1"/>
                </a:solidFill>
                <a:latin typeface="+mj-lt"/>
              </a:defRPr>
            </a:lvl1pPr>
          </a:lstStyle>
          <a:p>
            <a:fld id="{46545F21-C657-4764-B5B2-92A02BE34E1E}" type="slidenum">
              <a:rPr lang="cs-CZ" smtClean="0"/>
              <a:pPr/>
              <a:t>‹#›</a:t>
            </a:fld>
            <a:endParaRPr lang="cs-CZ">
              <a:latin typeface="+mj-lt"/>
            </a:endParaRP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5E535E0E-823C-4FE1-B137-C1B0F04C05AF}"/>
              </a:ext>
            </a:extLst>
          </p:cNvPr>
          <p:cNvSpPr txBox="1"/>
          <p:nvPr userDrawn="1"/>
        </p:nvSpPr>
        <p:spPr>
          <a:xfrm>
            <a:off x="9864000" y="6593500"/>
            <a:ext cx="1129052" cy="138499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 algn="r"/>
            <a:r>
              <a:rPr lang="cs-CZ" sz="900" b="1">
                <a:solidFill>
                  <a:schemeClr val="tx1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gasnet.cz</a:t>
            </a:r>
            <a:endParaRPr lang="cs-CZ" sz="900" b="1" dirty="0">
              <a:solidFill>
                <a:schemeClr val="tx1"/>
              </a:solidFill>
              <a:latin typeface="Segoe UI Semibold" panose="020B0502040204020203" pitchFamily="34" charset="0"/>
              <a:cs typeface="Segoe UI Semibold" panose="020B0502040204020203" pitchFamily="34" charset="0"/>
            </a:endParaRPr>
          </a:p>
        </p:txBody>
      </p:sp>
      <p:sp>
        <p:nvSpPr>
          <p:cNvPr id="51" name="Zástupný text 3">
            <a:extLst>
              <a:ext uri="{FF2B5EF4-FFF2-40B4-BE49-F238E27FC236}">
                <a16:creationId xmlns:a16="http://schemas.microsoft.com/office/drawing/2014/main" id="{B8595418-77D3-4DCE-8931-D28FC6CE8E3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390888" y="3820484"/>
            <a:ext cx="3960000" cy="216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200" b="0" u="none">
                <a:solidFill>
                  <a:schemeClr val="accent5"/>
                </a:solidFill>
                <a:latin typeface="+mn-lt"/>
                <a:cs typeface="Segoe UI" panose="020B0502040204020203" pitchFamily="34" charset="0"/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cs-CZ"/>
              <a:t>Bod 1 | Bod 2 | Bod 3</a:t>
            </a:r>
          </a:p>
        </p:txBody>
      </p:sp>
      <p:sp>
        <p:nvSpPr>
          <p:cNvPr id="53" name="Zástupný text 3">
            <a:extLst>
              <a:ext uri="{FF2B5EF4-FFF2-40B4-BE49-F238E27FC236}">
                <a16:creationId xmlns:a16="http://schemas.microsoft.com/office/drawing/2014/main" id="{3AD8E62D-8306-4186-B5BA-97127878442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390888" y="4178019"/>
            <a:ext cx="3960000" cy="28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600" b="0" u="none">
                <a:solidFill>
                  <a:schemeClr val="tx1"/>
                </a:solidFill>
                <a:latin typeface="+mj-lt"/>
                <a:cs typeface="Segoe UI" panose="020B0502040204020203" pitchFamily="34" charset="0"/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cs-CZ"/>
              <a:t>Název kapitoly</a:t>
            </a:r>
          </a:p>
        </p:txBody>
      </p:sp>
      <p:sp>
        <p:nvSpPr>
          <p:cNvPr id="55" name="Zástupný text 3">
            <a:extLst>
              <a:ext uri="{FF2B5EF4-FFF2-40B4-BE49-F238E27FC236}">
                <a16:creationId xmlns:a16="http://schemas.microsoft.com/office/drawing/2014/main" id="{7576DA0E-A3B5-4018-AD0E-5D315EEC54BA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390888" y="4515496"/>
            <a:ext cx="3960000" cy="216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200" b="0" u="none">
                <a:solidFill>
                  <a:schemeClr val="accent5"/>
                </a:solidFill>
                <a:latin typeface="+mn-lt"/>
                <a:cs typeface="Segoe UI" panose="020B0502040204020203" pitchFamily="34" charset="0"/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cs-CZ"/>
              <a:t>Bod 1 | Bod 2 | Bod 3</a:t>
            </a:r>
          </a:p>
        </p:txBody>
      </p:sp>
      <p:sp>
        <p:nvSpPr>
          <p:cNvPr id="56" name="Zástupný text 3">
            <a:extLst>
              <a:ext uri="{FF2B5EF4-FFF2-40B4-BE49-F238E27FC236}">
                <a16:creationId xmlns:a16="http://schemas.microsoft.com/office/drawing/2014/main" id="{FE402BE1-1F37-4F0E-A4CD-54298B2E905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390888" y="4875845"/>
            <a:ext cx="3960000" cy="28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600" b="0" u="none">
                <a:solidFill>
                  <a:schemeClr val="tx1"/>
                </a:solidFill>
                <a:latin typeface="+mj-lt"/>
                <a:cs typeface="Segoe UI" panose="020B0502040204020203" pitchFamily="34" charset="0"/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cs-CZ"/>
              <a:t>Název kapitoly</a:t>
            </a:r>
          </a:p>
        </p:txBody>
      </p:sp>
      <p:sp>
        <p:nvSpPr>
          <p:cNvPr id="58" name="Zástupný text 3">
            <a:extLst>
              <a:ext uri="{FF2B5EF4-FFF2-40B4-BE49-F238E27FC236}">
                <a16:creationId xmlns:a16="http://schemas.microsoft.com/office/drawing/2014/main" id="{E411D8F9-B903-4432-808D-9756C971E436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390888" y="5213322"/>
            <a:ext cx="3960000" cy="216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200" b="0" u="none">
                <a:solidFill>
                  <a:schemeClr val="accent5"/>
                </a:solidFill>
                <a:latin typeface="+mn-lt"/>
                <a:cs typeface="Segoe UI" panose="020B0502040204020203" pitchFamily="34" charset="0"/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cs-CZ"/>
              <a:t>Bod 1 | Bod 2 | Bod 3</a:t>
            </a:r>
          </a:p>
        </p:txBody>
      </p:sp>
      <p:sp>
        <p:nvSpPr>
          <p:cNvPr id="59" name="Zástupný text 3">
            <a:extLst>
              <a:ext uri="{FF2B5EF4-FFF2-40B4-BE49-F238E27FC236}">
                <a16:creationId xmlns:a16="http://schemas.microsoft.com/office/drawing/2014/main" id="{ED58E586-9CEF-4A29-BA4D-5C9A8B92FFA1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1390888" y="5583577"/>
            <a:ext cx="3960000" cy="28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600" b="0" u="none">
                <a:solidFill>
                  <a:schemeClr val="tx1"/>
                </a:solidFill>
                <a:latin typeface="+mj-lt"/>
                <a:cs typeface="Segoe UI" panose="020B0502040204020203" pitchFamily="34" charset="0"/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cs-CZ"/>
              <a:t>Název kapitoly</a:t>
            </a:r>
          </a:p>
        </p:txBody>
      </p:sp>
      <p:sp>
        <p:nvSpPr>
          <p:cNvPr id="61" name="Zástupný text 3">
            <a:extLst>
              <a:ext uri="{FF2B5EF4-FFF2-40B4-BE49-F238E27FC236}">
                <a16:creationId xmlns:a16="http://schemas.microsoft.com/office/drawing/2014/main" id="{71F035D7-EE45-4BCA-88E4-A7592538AADA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1390888" y="5921054"/>
            <a:ext cx="3960000" cy="216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200" b="0" u="none">
                <a:solidFill>
                  <a:schemeClr val="accent5"/>
                </a:solidFill>
                <a:latin typeface="+mn-lt"/>
                <a:cs typeface="Segoe UI" panose="020B0502040204020203" pitchFamily="34" charset="0"/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cs-CZ"/>
              <a:t>Bod 1 | Bod 2 | Bod 3</a:t>
            </a:r>
          </a:p>
        </p:txBody>
      </p:sp>
      <p:sp>
        <p:nvSpPr>
          <p:cNvPr id="62" name="Zástupný text 3">
            <a:extLst>
              <a:ext uri="{FF2B5EF4-FFF2-40B4-BE49-F238E27FC236}">
                <a16:creationId xmlns:a16="http://schemas.microsoft.com/office/drawing/2014/main" id="{D04227E3-1645-46CC-A9CA-23CE12962604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6647472" y="3483007"/>
            <a:ext cx="3960000" cy="28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600" b="0" u="none">
                <a:solidFill>
                  <a:schemeClr val="tx1"/>
                </a:solidFill>
                <a:latin typeface="+mj-lt"/>
                <a:cs typeface="Segoe UI" panose="020B0502040204020203" pitchFamily="34" charset="0"/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cs-CZ"/>
              <a:t>Název kapitoly</a:t>
            </a:r>
          </a:p>
        </p:txBody>
      </p:sp>
      <p:sp>
        <p:nvSpPr>
          <p:cNvPr id="64" name="Zástupný text 3">
            <a:extLst>
              <a:ext uri="{FF2B5EF4-FFF2-40B4-BE49-F238E27FC236}">
                <a16:creationId xmlns:a16="http://schemas.microsoft.com/office/drawing/2014/main" id="{9939D7D9-D525-4B47-A23C-035BA5AB3B64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6647472" y="3820484"/>
            <a:ext cx="3960000" cy="216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200" b="0" u="none">
                <a:solidFill>
                  <a:schemeClr val="accent5"/>
                </a:solidFill>
                <a:latin typeface="+mn-lt"/>
                <a:cs typeface="Segoe UI" panose="020B0502040204020203" pitchFamily="34" charset="0"/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cs-CZ"/>
              <a:t>Bod 1 | Bod 2 | Bod 3</a:t>
            </a:r>
          </a:p>
        </p:txBody>
      </p:sp>
      <p:sp>
        <p:nvSpPr>
          <p:cNvPr id="65" name="Zástupný text 3">
            <a:extLst>
              <a:ext uri="{FF2B5EF4-FFF2-40B4-BE49-F238E27FC236}">
                <a16:creationId xmlns:a16="http://schemas.microsoft.com/office/drawing/2014/main" id="{B1834B44-F8BF-403B-A681-D900FE6FAF13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647472" y="4178019"/>
            <a:ext cx="3960000" cy="28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600" b="0" u="none">
                <a:solidFill>
                  <a:schemeClr val="tx1"/>
                </a:solidFill>
                <a:latin typeface="+mj-lt"/>
                <a:cs typeface="Segoe UI" panose="020B0502040204020203" pitchFamily="34" charset="0"/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cs-CZ"/>
              <a:t>Název kapitoly</a:t>
            </a:r>
          </a:p>
        </p:txBody>
      </p:sp>
      <p:sp>
        <p:nvSpPr>
          <p:cNvPr id="67" name="Zástupný text 3">
            <a:extLst>
              <a:ext uri="{FF2B5EF4-FFF2-40B4-BE49-F238E27FC236}">
                <a16:creationId xmlns:a16="http://schemas.microsoft.com/office/drawing/2014/main" id="{2CCC281D-BD4D-4E58-9DDE-BCD1632A43C0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647472" y="4515496"/>
            <a:ext cx="3960000" cy="216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200" b="0" u="none">
                <a:solidFill>
                  <a:schemeClr val="accent5"/>
                </a:solidFill>
                <a:latin typeface="+mn-lt"/>
                <a:cs typeface="Segoe UI" panose="020B0502040204020203" pitchFamily="34" charset="0"/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cs-CZ"/>
              <a:t>Bod 1 | Bod 2 | Bod 3</a:t>
            </a:r>
          </a:p>
        </p:txBody>
      </p:sp>
      <p:sp>
        <p:nvSpPr>
          <p:cNvPr id="68" name="Zástupný text 3">
            <a:extLst>
              <a:ext uri="{FF2B5EF4-FFF2-40B4-BE49-F238E27FC236}">
                <a16:creationId xmlns:a16="http://schemas.microsoft.com/office/drawing/2014/main" id="{D62BBE6B-26C6-478D-B57A-4913D6A4A65D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647472" y="4875845"/>
            <a:ext cx="3960000" cy="28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600" b="0" u="none">
                <a:solidFill>
                  <a:schemeClr val="tx1"/>
                </a:solidFill>
                <a:latin typeface="+mj-lt"/>
                <a:cs typeface="Segoe UI" panose="020B0502040204020203" pitchFamily="34" charset="0"/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cs-CZ"/>
              <a:t>Název kapitoly</a:t>
            </a:r>
          </a:p>
        </p:txBody>
      </p:sp>
      <p:sp>
        <p:nvSpPr>
          <p:cNvPr id="70" name="Zástupný text 3">
            <a:extLst>
              <a:ext uri="{FF2B5EF4-FFF2-40B4-BE49-F238E27FC236}">
                <a16:creationId xmlns:a16="http://schemas.microsoft.com/office/drawing/2014/main" id="{9E69F56F-773F-48F9-9205-B9111BFBCEF1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647472" y="5213322"/>
            <a:ext cx="3960000" cy="216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200" b="0" u="none">
                <a:solidFill>
                  <a:schemeClr val="accent5"/>
                </a:solidFill>
                <a:latin typeface="+mn-lt"/>
                <a:cs typeface="Segoe UI" panose="020B0502040204020203" pitchFamily="34" charset="0"/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cs-CZ"/>
              <a:t>Bod 1 | Bod 2 | Bod 3</a:t>
            </a:r>
          </a:p>
        </p:txBody>
      </p:sp>
      <p:sp>
        <p:nvSpPr>
          <p:cNvPr id="71" name="Zástupný text 3">
            <a:extLst>
              <a:ext uri="{FF2B5EF4-FFF2-40B4-BE49-F238E27FC236}">
                <a16:creationId xmlns:a16="http://schemas.microsoft.com/office/drawing/2014/main" id="{20C8F9E2-5488-4E70-A9CA-CA6E088792DC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6647472" y="5583577"/>
            <a:ext cx="3960000" cy="288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600" b="0" u="none">
                <a:solidFill>
                  <a:schemeClr val="tx1"/>
                </a:solidFill>
                <a:latin typeface="+mj-lt"/>
                <a:cs typeface="Segoe UI" panose="020B0502040204020203" pitchFamily="34" charset="0"/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cs-CZ"/>
              <a:t>Název kapitoly</a:t>
            </a:r>
          </a:p>
        </p:txBody>
      </p:sp>
      <p:sp>
        <p:nvSpPr>
          <p:cNvPr id="73" name="Zástupný text 3">
            <a:extLst>
              <a:ext uri="{FF2B5EF4-FFF2-40B4-BE49-F238E27FC236}">
                <a16:creationId xmlns:a16="http://schemas.microsoft.com/office/drawing/2014/main" id="{4CF2ADB0-8EE7-4FF0-8173-BDBEDCBE164D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6647472" y="5921054"/>
            <a:ext cx="3960000" cy="216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200" b="0" u="none">
                <a:solidFill>
                  <a:schemeClr val="accent5"/>
                </a:solidFill>
                <a:latin typeface="+mn-lt"/>
                <a:cs typeface="Segoe UI" panose="020B0502040204020203" pitchFamily="34" charset="0"/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cs-CZ"/>
              <a:t>Bod 1 | Bod 2 | Bod 3</a:t>
            </a:r>
          </a:p>
        </p:txBody>
      </p:sp>
      <p:pic>
        <p:nvPicPr>
          <p:cNvPr id="3" name="Obrázek 2">
            <a:extLst>
              <a:ext uri="{FF2B5EF4-FFF2-40B4-BE49-F238E27FC236}">
                <a16:creationId xmlns:a16="http://schemas.microsoft.com/office/drawing/2014/main" id="{C3343A9B-567A-4AE3-8D4D-D887F3787C1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07368" y="6551539"/>
            <a:ext cx="216000" cy="201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228006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ozložení 0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Obdélník 20">
            <a:extLst>
              <a:ext uri="{FF2B5EF4-FFF2-40B4-BE49-F238E27FC236}">
                <a16:creationId xmlns:a16="http://schemas.microsoft.com/office/drawing/2014/main" id="{08BB5062-D670-48AA-BF8A-02CD596AA305}"/>
              </a:ext>
            </a:extLst>
          </p:cNvPr>
          <p:cNvSpPr/>
          <p:nvPr userDrawn="1"/>
        </p:nvSpPr>
        <p:spPr bwMode="gray">
          <a:xfrm>
            <a:off x="407988" y="413490"/>
            <a:ext cx="11376024" cy="6039698"/>
          </a:xfrm>
          <a:prstGeom prst="rect">
            <a:avLst/>
          </a:prstGeom>
          <a:solidFill>
            <a:schemeClr val="tx2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ctr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cs-CZ" sz="1400" dirty="0">
              <a:solidFill>
                <a:schemeClr val="bg1"/>
              </a:solidFill>
            </a:endParaRPr>
          </a:p>
        </p:txBody>
      </p:sp>
      <p:sp>
        <p:nvSpPr>
          <p:cNvPr id="7" name="Zástupný text 3">
            <a:extLst>
              <a:ext uri="{FF2B5EF4-FFF2-40B4-BE49-F238E27FC236}">
                <a16:creationId xmlns:a16="http://schemas.microsoft.com/office/drawing/2014/main" id="{7995F1F8-0381-4379-8459-DA94E6060E2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9416" y="1692046"/>
            <a:ext cx="10500584" cy="36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800" u="sng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cs-CZ"/>
              <a:t>Doplňkový titulek Regular 18 Underlined</a:t>
            </a:r>
          </a:p>
        </p:txBody>
      </p:sp>
      <p:sp>
        <p:nvSpPr>
          <p:cNvPr id="11" name="Zástupný text 3">
            <a:extLst>
              <a:ext uri="{FF2B5EF4-FFF2-40B4-BE49-F238E27FC236}">
                <a16:creationId xmlns:a16="http://schemas.microsoft.com/office/drawing/2014/main" id="{8558B4E2-301B-4CBA-8CC6-CD11FAB2AA7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9417" y="5580000"/>
            <a:ext cx="4824784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1000" u="none">
                <a:solidFill>
                  <a:schemeClr val="bg1"/>
                </a:solidFill>
                <a:latin typeface="+mn-lt"/>
                <a:cs typeface="Segoe UI" panose="020B0502040204020203" pitchFamily="34" charset="0"/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cs-CZ"/>
              <a:t>Popisky grafů a komplexních technických materiálů Light 10</a:t>
            </a:r>
          </a:p>
        </p:txBody>
      </p:sp>
      <p:sp>
        <p:nvSpPr>
          <p:cNvPr id="12" name="Zástupný text 3">
            <a:extLst>
              <a:ext uri="{FF2B5EF4-FFF2-40B4-BE49-F238E27FC236}">
                <a16:creationId xmlns:a16="http://schemas.microsoft.com/office/drawing/2014/main" id="{703C8AFA-1D1D-4FEC-9D71-79A9874903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39789" y="5969714"/>
            <a:ext cx="4824412" cy="123111"/>
          </a:xfrm>
          <a:prstGeom prst="rect">
            <a:avLst/>
          </a:prstGeom>
          <a:ln>
            <a:noFill/>
          </a:ln>
        </p:spPr>
        <p:txBody>
          <a:bodyPr wrap="square" lIns="0" tIns="0" rIns="0" bIns="0" anchor="t" anchorCtr="0">
            <a:spAutoFit/>
          </a:bodyPr>
          <a:lstStyle>
            <a:lvl1pPr marL="0" indent="0">
              <a:spcBef>
                <a:spcPts val="0"/>
              </a:spcBef>
              <a:buNone/>
              <a:defRPr sz="800" b="0" u="none">
                <a:solidFill>
                  <a:schemeClr val="bg1"/>
                </a:solidFill>
                <a:latin typeface="+mn-lt"/>
                <a:cs typeface="Segoe UI" panose="020B0502040204020203" pitchFamily="34" charset="0"/>
                <a:sym typeface="Webdings" panose="05030102010509060703" pitchFamily="18" charset="2"/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cs-CZ"/>
              <a:t>Popisky pod čarou Light 8</a:t>
            </a:r>
          </a:p>
        </p:txBody>
      </p:sp>
      <p:sp>
        <p:nvSpPr>
          <p:cNvPr id="16" name="Zástupný text 22">
            <a:extLst>
              <a:ext uri="{FF2B5EF4-FFF2-40B4-BE49-F238E27FC236}">
                <a16:creationId xmlns:a16="http://schemas.microsoft.com/office/drawing/2014/main" id="{494FC14E-65A8-4F8D-9E5B-C6B5DB88DC8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527800" y="2340142"/>
            <a:ext cx="4824413" cy="1208326"/>
          </a:xfrm>
          <a:prstGeom prst="rect">
            <a:avLst/>
          </a:prstGeom>
          <a:solidFill>
            <a:schemeClr val="bg1"/>
          </a:solidFill>
        </p:spPr>
        <p:txBody>
          <a:bodyPr lIns="360000" tIns="288000" rIns="360000" bIns="360000">
            <a:spAutoFit/>
          </a:bodyPr>
          <a:lstStyle>
            <a:lvl1pPr marL="0" indent="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None/>
              <a:defRPr sz="1800">
                <a:solidFill>
                  <a:schemeClr val="tx2"/>
                </a:solidFill>
              </a:defRPr>
            </a:lvl1pPr>
            <a:lvl2pPr marL="288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"/>
              <a:defRPr sz="1800">
                <a:solidFill>
                  <a:schemeClr val="tx2"/>
                </a:solidFill>
              </a:defRPr>
            </a:lvl2pPr>
            <a:lvl3pPr marL="288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800">
                <a:solidFill>
                  <a:schemeClr val="tx2"/>
                </a:solidFill>
              </a:defRPr>
            </a:lvl3pPr>
            <a:lvl4pPr marL="576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800" b="0">
                <a:solidFill>
                  <a:schemeClr val="tx2"/>
                </a:solidFill>
              </a:defRPr>
            </a:lvl4pPr>
            <a:lvl5pPr marL="576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cs-CZ"/>
              <a:t>Tento rámeček má variabilní velikost </a:t>
            </a:r>
            <a:br>
              <a:rPr lang="cs-CZ"/>
            </a:br>
            <a:r>
              <a:rPr lang="cs-CZ"/>
              <a:t>a slouží ke zvýraznění informace v textu.</a:t>
            </a:r>
          </a:p>
        </p:txBody>
      </p:sp>
      <p:sp>
        <p:nvSpPr>
          <p:cNvPr id="18" name="Zástupný symbol pro číslo snímku 2">
            <a:extLst>
              <a:ext uri="{FF2B5EF4-FFF2-40B4-BE49-F238E27FC236}">
                <a16:creationId xmlns:a16="http://schemas.microsoft.com/office/drawing/2014/main" id="{BEA9CD9A-F1C3-494C-A50C-2B06A52C222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40000" y="6551999"/>
            <a:ext cx="4320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900">
                <a:solidFill>
                  <a:schemeClr val="tx1"/>
                </a:solidFill>
                <a:latin typeface="+mj-lt"/>
              </a:defRPr>
            </a:lvl1pPr>
          </a:lstStyle>
          <a:p>
            <a:fld id="{46545F21-C657-4764-B5B2-92A02BE34E1E}" type="slidenum">
              <a:rPr lang="cs-CZ" smtClean="0"/>
              <a:pPr/>
              <a:t>‹#›</a:t>
            </a:fld>
            <a:endParaRPr lang="cs-CZ">
              <a:latin typeface="+mj-lt"/>
            </a:endParaRP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2D4A8084-A1DD-4A1E-9464-59B295C01A94}"/>
              </a:ext>
            </a:extLst>
          </p:cNvPr>
          <p:cNvSpPr txBox="1"/>
          <p:nvPr userDrawn="1"/>
        </p:nvSpPr>
        <p:spPr>
          <a:xfrm>
            <a:off x="9864000" y="6593500"/>
            <a:ext cx="1129052" cy="138499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 algn="r"/>
            <a:r>
              <a:rPr lang="cs-CZ" sz="900" b="1">
                <a:solidFill>
                  <a:schemeClr val="tx1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gasnet.cz</a:t>
            </a:r>
            <a:endParaRPr lang="cs-CZ" sz="900" b="1" dirty="0">
              <a:solidFill>
                <a:schemeClr val="tx1"/>
              </a:solidFill>
              <a:latin typeface="Segoe UI Semibold" panose="020B0502040204020203" pitchFamily="34" charset="0"/>
              <a:cs typeface="Segoe UI Semibold" panose="020B0502040204020203" pitchFamily="34" charset="0"/>
            </a:endParaRPr>
          </a:p>
        </p:txBody>
      </p:sp>
      <p:sp>
        <p:nvSpPr>
          <p:cNvPr id="22" name="Zástupný obsah 19">
            <a:extLst>
              <a:ext uri="{FF2B5EF4-FFF2-40B4-BE49-F238E27FC236}">
                <a16:creationId xmlns:a16="http://schemas.microsoft.com/office/drawing/2014/main" id="{031924CF-55AE-45F3-8B4F-6A0471CF411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839787" y="2346563"/>
            <a:ext cx="4824413" cy="299761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spcAft>
                <a:spcPts val="400"/>
              </a:spcAft>
              <a:buFontTx/>
              <a:buNone/>
              <a:defRPr sz="1400" b="0">
                <a:solidFill>
                  <a:schemeClr val="bg1"/>
                </a:solidFill>
                <a:latin typeface="+mn-lt"/>
              </a:defRPr>
            </a:lvl1pPr>
            <a:lvl2pPr marL="288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400" b="0">
                <a:solidFill>
                  <a:schemeClr val="bg1"/>
                </a:solidFill>
                <a:latin typeface="+mn-lt"/>
              </a:defRPr>
            </a:lvl2pPr>
            <a:lvl3pPr marL="576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 b="0">
                <a:solidFill>
                  <a:schemeClr val="bg1"/>
                </a:solidFill>
                <a:latin typeface="+mn-lt"/>
              </a:defRPr>
            </a:lvl3pPr>
            <a:lvl4pPr marL="576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None/>
              <a:defRPr sz="1800" b="0">
                <a:solidFill>
                  <a:schemeClr val="bg1"/>
                </a:solidFill>
                <a:latin typeface="+mn-lt"/>
              </a:defRPr>
            </a:lvl4pPr>
            <a:lvl5pPr marL="576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800" b="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cs-CZ"/>
              <a:t>První úroveň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</p:txBody>
      </p:sp>
      <p:sp>
        <p:nvSpPr>
          <p:cNvPr id="14" name="Zástupný text 20">
            <a:extLst>
              <a:ext uri="{FF2B5EF4-FFF2-40B4-BE49-F238E27FC236}">
                <a16:creationId xmlns:a16="http://schemas.microsoft.com/office/drawing/2014/main" id="{E2C8B15F-C563-4364-923F-AB2F0636D5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9416" y="764768"/>
            <a:ext cx="10512797" cy="576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cs-CZ"/>
              <a:t>Titulek SemiBold 36</a:t>
            </a: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F37B5614-7ACE-426B-81EC-0E844A2F2F7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07368" y="6551539"/>
            <a:ext cx="216000" cy="201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700860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ozložení 0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délník 1">
            <a:extLst>
              <a:ext uri="{FF2B5EF4-FFF2-40B4-BE49-F238E27FC236}">
                <a16:creationId xmlns:a16="http://schemas.microsoft.com/office/drawing/2014/main" id="{A53A2EBE-776C-4DB8-8854-D3FC86D5569E}"/>
              </a:ext>
            </a:extLst>
          </p:cNvPr>
          <p:cNvSpPr/>
          <p:nvPr userDrawn="1"/>
        </p:nvSpPr>
        <p:spPr bwMode="gray">
          <a:xfrm>
            <a:off x="407368" y="413490"/>
            <a:ext cx="11376024" cy="6039698"/>
          </a:xfrm>
          <a:prstGeom prst="rect">
            <a:avLst/>
          </a:prstGeom>
          <a:solidFill>
            <a:schemeClr val="tx2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ctr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cs-CZ" sz="1400" dirty="0">
              <a:solidFill>
                <a:schemeClr val="bg1"/>
              </a:solidFill>
            </a:endParaRPr>
          </a:p>
        </p:txBody>
      </p:sp>
      <p:sp>
        <p:nvSpPr>
          <p:cNvPr id="7" name="Zástupný text 3">
            <a:extLst>
              <a:ext uri="{FF2B5EF4-FFF2-40B4-BE49-F238E27FC236}">
                <a16:creationId xmlns:a16="http://schemas.microsoft.com/office/drawing/2014/main" id="{7995F1F8-0381-4379-8459-DA94E6060E2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9416" y="1692046"/>
            <a:ext cx="10512797" cy="36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800" u="sng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cs-CZ"/>
              <a:t>Doplňkový titulek Regular 18 Underlined</a:t>
            </a:r>
          </a:p>
        </p:txBody>
      </p:sp>
      <p:sp>
        <p:nvSpPr>
          <p:cNvPr id="11" name="Zástupný text 3">
            <a:extLst>
              <a:ext uri="{FF2B5EF4-FFF2-40B4-BE49-F238E27FC236}">
                <a16:creationId xmlns:a16="http://schemas.microsoft.com/office/drawing/2014/main" id="{8558B4E2-301B-4CBA-8CC6-CD11FAB2AA7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9416" y="5580000"/>
            <a:ext cx="10584000" cy="15388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1000" u="none">
                <a:solidFill>
                  <a:schemeClr val="bg1"/>
                </a:solidFill>
                <a:latin typeface="+mn-lt"/>
                <a:cs typeface="Segoe UI" panose="020B0502040204020203" pitchFamily="34" charset="0"/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cs-CZ"/>
              <a:t>Popisky grafů a komplexních materiálů Light 10</a:t>
            </a:r>
          </a:p>
        </p:txBody>
      </p:sp>
      <p:sp>
        <p:nvSpPr>
          <p:cNvPr id="12" name="Zástupný text 3">
            <a:extLst>
              <a:ext uri="{FF2B5EF4-FFF2-40B4-BE49-F238E27FC236}">
                <a16:creationId xmlns:a16="http://schemas.microsoft.com/office/drawing/2014/main" id="{703C8AFA-1D1D-4FEC-9D71-79A9874903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39416" y="5976000"/>
            <a:ext cx="10584000" cy="12311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800" u="none">
                <a:solidFill>
                  <a:schemeClr val="bg1"/>
                </a:solidFill>
                <a:latin typeface="+mn-lt"/>
                <a:cs typeface="Segoe UI" panose="020B0502040204020203" pitchFamily="34" charset="0"/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cs-CZ"/>
              <a:t>Popisky pod čarou Light 8</a:t>
            </a:r>
          </a:p>
        </p:txBody>
      </p:sp>
      <p:sp>
        <p:nvSpPr>
          <p:cNvPr id="16" name="Zástupný symbol pro číslo snímku 2">
            <a:extLst>
              <a:ext uri="{FF2B5EF4-FFF2-40B4-BE49-F238E27FC236}">
                <a16:creationId xmlns:a16="http://schemas.microsoft.com/office/drawing/2014/main" id="{12FF6A7C-5E7E-4BEA-AADD-396DDDF320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40000" y="6551999"/>
            <a:ext cx="4320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900">
                <a:solidFill>
                  <a:schemeClr val="tx1"/>
                </a:solidFill>
                <a:latin typeface="+mj-lt"/>
              </a:defRPr>
            </a:lvl1pPr>
          </a:lstStyle>
          <a:p>
            <a:fld id="{46545F21-C657-4764-B5B2-92A02BE34E1E}" type="slidenum">
              <a:rPr lang="cs-CZ" smtClean="0"/>
              <a:pPr/>
              <a:t>‹#›</a:t>
            </a:fld>
            <a:endParaRPr lang="cs-CZ">
              <a:latin typeface="+mj-lt"/>
            </a:endParaRP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B3318F93-743B-40C6-AF62-2D4A256C78D0}"/>
              </a:ext>
            </a:extLst>
          </p:cNvPr>
          <p:cNvSpPr txBox="1"/>
          <p:nvPr userDrawn="1"/>
        </p:nvSpPr>
        <p:spPr>
          <a:xfrm>
            <a:off x="9864000" y="6593500"/>
            <a:ext cx="1129052" cy="138499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 algn="r"/>
            <a:r>
              <a:rPr lang="cs-CZ" sz="900" b="1">
                <a:solidFill>
                  <a:schemeClr val="tx1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gasnet.cz</a:t>
            </a:r>
            <a:endParaRPr lang="cs-CZ" sz="900" b="1" dirty="0">
              <a:solidFill>
                <a:schemeClr val="tx1"/>
              </a:solidFill>
              <a:latin typeface="Segoe UI Semibold" panose="020B0502040204020203" pitchFamily="34" charset="0"/>
              <a:cs typeface="Segoe UI Semibold" panose="020B0502040204020203" pitchFamily="34" charset="0"/>
            </a:endParaRPr>
          </a:p>
        </p:txBody>
      </p:sp>
      <p:sp>
        <p:nvSpPr>
          <p:cNvPr id="19" name="Zástupný obsah 19">
            <a:extLst>
              <a:ext uri="{FF2B5EF4-FFF2-40B4-BE49-F238E27FC236}">
                <a16:creationId xmlns:a16="http://schemas.microsoft.com/office/drawing/2014/main" id="{9FAFC070-9627-44F6-A88B-BA27D31B51F5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839787" y="2340142"/>
            <a:ext cx="10512425" cy="2997746"/>
          </a:xfrm>
          <a:prstGeom prst="rect">
            <a:avLst/>
          </a:prstGeom>
        </p:spPr>
        <p:txBody>
          <a:bodyPr lIns="0" tIns="0" rIns="0" bIns="0" numCol="2" spcCol="720000">
            <a:noAutofit/>
          </a:bodyPr>
          <a:lstStyle>
            <a:lvl1pPr marL="0" indent="0">
              <a:spcBef>
                <a:spcPts val="0"/>
              </a:spcBef>
              <a:spcAft>
                <a:spcPts val="400"/>
              </a:spcAft>
              <a:buFontTx/>
              <a:buNone/>
              <a:defRPr sz="1400" b="0">
                <a:solidFill>
                  <a:schemeClr val="bg1"/>
                </a:solidFill>
                <a:latin typeface="+mn-lt"/>
              </a:defRPr>
            </a:lvl1pPr>
            <a:lvl2pPr marL="288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400" b="0">
                <a:solidFill>
                  <a:schemeClr val="bg1"/>
                </a:solidFill>
                <a:latin typeface="+mn-lt"/>
              </a:defRPr>
            </a:lvl2pPr>
            <a:lvl3pPr marL="576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 b="0">
                <a:solidFill>
                  <a:schemeClr val="bg1"/>
                </a:solidFill>
                <a:latin typeface="+mn-lt"/>
              </a:defRPr>
            </a:lvl3pPr>
            <a:lvl4pPr marL="576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None/>
              <a:defRPr sz="1800" b="0">
                <a:solidFill>
                  <a:schemeClr val="bg1"/>
                </a:solidFill>
                <a:latin typeface="+mn-lt"/>
              </a:defRPr>
            </a:lvl4pPr>
            <a:lvl5pPr marL="576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800" b="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cs-CZ"/>
              <a:t>První úroveň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</p:txBody>
      </p:sp>
      <p:sp>
        <p:nvSpPr>
          <p:cNvPr id="13" name="Zástupný text 20">
            <a:extLst>
              <a:ext uri="{FF2B5EF4-FFF2-40B4-BE49-F238E27FC236}">
                <a16:creationId xmlns:a16="http://schemas.microsoft.com/office/drawing/2014/main" id="{ECBEC95C-5AF0-49FB-8015-5686476B71A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9416" y="764768"/>
            <a:ext cx="10512797" cy="576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cs-CZ"/>
              <a:t>Titulek SemiBold 36</a:t>
            </a:r>
          </a:p>
        </p:txBody>
      </p:sp>
      <p:pic>
        <p:nvPicPr>
          <p:cNvPr id="15" name="Obrázek 14">
            <a:extLst>
              <a:ext uri="{FF2B5EF4-FFF2-40B4-BE49-F238E27FC236}">
                <a16:creationId xmlns:a16="http://schemas.microsoft.com/office/drawing/2014/main" id="{C52C8140-164D-4076-A7B1-9C5CE5C663C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07368" y="6551539"/>
            <a:ext cx="216000" cy="201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833166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ozložení 0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délník 1">
            <a:extLst>
              <a:ext uri="{FF2B5EF4-FFF2-40B4-BE49-F238E27FC236}">
                <a16:creationId xmlns:a16="http://schemas.microsoft.com/office/drawing/2014/main" id="{1B93E936-06F7-4ACF-BA3B-1B908FB0ED86}"/>
              </a:ext>
            </a:extLst>
          </p:cNvPr>
          <p:cNvSpPr/>
          <p:nvPr userDrawn="1"/>
        </p:nvSpPr>
        <p:spPr bwMode="gray">
          <a:xfrm>
            <a:off x="407988" y="413490"/>
            <a:ext cx="11376024" cy="6039698"/>
          </a:xfrm>
          <a:prstGeom prst="rect">
            <a:avLst/>
          </a:prstGeom>
          <a:solidFill>
            <a:schemeClr val="accent4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ctr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cs-CZ" sz="1400" dirty="0">
              <a:solidFill>
                <a:schemeClr val="bg1"/>
              </a:solidFill>
            </a:endParaRPr>
          </a:p>
        </p:txBody>
      </p:sp>
      <p:sp>
        <p:nvSpPr>
          <p:cNvPr id="7" name="Zástupný text 3">
            <a:extLst>
              <a:ext uri="{FF2B5EF4-FFF2-40B4-BE49-F238E27FC236}">
                <a16:creationId xmlns:a16="http://schemas.microsoft.com/office/drawing/2014/main" id="{7995F1F8-0381-4379-8459-DA94E6060E2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9416" y="1692046"/>
            <a:ext cx="10512797" cy="36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800" u="sng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cs-CZ"/>
              <a:t>Doplňkový titulek Regular 18 Underlined</a:t>
            </a:r>
          </a:p>
        </p:txBody>
      </p:sp>
      <p:sp>
        <p:nvSpPr>
          <p:cNvPr id="11" name="Zástupný text 3">
            <a:extLst>
              <a:ext uri="{FF2B5EF4-FFF2-40B4-BE49-F238E27FC236}">
                <a16:creationId xmlns:a16="http://schemas.microsoft.com/office/drawing/2014/main" id="{8558B4E2-301B-4CBA-8CC6-CD11FAB2AA7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9416" y="5580000"/>
            <a:ext cx="10512797" cy="15388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1000" u="none">
                <a:solidFill>
                  <a:schemeClr val="tx1"/>
                </a:solidFill>
                <a:latin typeface="+mn-lt"/>
                <a:cs typeface="Segoe UI" panose="020B0502040204020203" pitchFamily="34" charset="0"/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cs-CZ"/>
              <a:t>Popisky grafů a komplexních materiálů Light 10</a:t>
            </a:r>
          </a:p>
        </p:txBody>
      </p:sp>
      <p:sp>
        <p:nvSpPr>
          <p:cNvPr id="12" name="Zástupný text 3">
            <a:extLst>
              <a:ext uri="{FF2B5EF4-FFF2-40B4-BE49-F238E27FC236}">
                <a16:creationId xmlns:a16="http://schemas.microsoft.com/office/drawing/2014/main" id="{703C8AFA-1D1D-4FEC-9D71-79A9874903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39416" y="5976000"/>
            <a:ext cx="10512797" cy="12311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800" u="none">
                <a:solidFill>
                  <a:schemeClr val="tx1"/>
                </a:solidFill>
                <a:latin typeface="+mn-lt"/>
                <a:cs typeface="Segoe UI" panose="020B0502040204020203" pitchFamily="34" charset="0"/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cs-CZ"/>
              <a:t>Popisky pod čarou Light 8</a:t>
            </a:r>
          </a:p>
        </p:txBody>
      </p:sp>
      <p:sp>
        <p:nvSpPr>
          <p:cNvPr id="16" name="Zástupný symbol pro číslo snímku 2">
            <a:extLst>
              <a:ext uri="{FF2B5EF4-FFF2-40B4-BE49-F238E27FC236}">
                <a16:creationId xmlns:a16="http://schemas.microsoft.com/office/drawing/2014/main" id="{B9E3D326-5370-4A92-A89B-E96221EB41A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40000" y="6551999"/>
            <a:ext cx="4320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900">
                <a:solidFill>
                  <a:schemeClr val="tx1"/>
                </a:solidFill>
                <a:latin typeface="+mj-lt"/>
              </a:defRPr>
            </a:lvl1pPr>
          </a:lstStyle>
          <a:p>
            <a:fld id="{46545F21-C657-4764-B5B2-92A02BE34E1E}" type="slidenum">
              <a:rPr lang="cs-CZ" smtClean="0"/>
              <a:pPr/>
              <a:t>‹#›</a:t>
            </a:fld>
            <a:endParaRPr lang="cs-CZ">
              <a:latin typeface="+mj-lt"/>
            </a:endParaRP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EF8C060C-46B7-4BF0-BF70-A2A8046939A1}"/>
              </a:ext>
            </a:extLst>
          </p:cNvPr>
          <p:cNvSpPr txBox="1"/>
          <p:nvPr userDrawn="1"/>
        </p:nvSpPr>
        <p:spPr>
          <a:xfrm>
            <a:off x="9864000" y="6593500"/>
            <a:ext cx="1129052" cy="138499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 algn="r"/>
            <a:r>
              <a:rPr lang="cs-CZ" sz="900" b="1">
                <a:solidFill>
                  <a:schemeClr val="tx1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gasnet.cz</a:t>
            </a:r>
            <a:endParaRPr lang="cs-CZ" sz="900" b="1" dirty="0">
              <a:solidFill>
                <a:schemeClr val="tx1"/>
              </a:solidFill>
              <a:latin typeface="Segoe UI Semibold" panose="020B0502040204020203" pitchFamily="34" charset="0"/>
              <a:cs typeface="Segoe UI Semibold" panose="020B0502040204020203" pitchFamily="34" charset="0"/>
            </a:endParaRPr>
          </a:p>
        </p:txBody>
      </p:sp>
      <p:sp>
        <p:nvSpPr>
          <p:cNvPr id="20" name="Zástupný obsah 19">
            <a:extLst>
              <a:ext uri="{FF2B5EF4-FFF2-40B4-BE49-F238E27FC236}">
                <a16:creationId xmlns:a16="http://schemas.microsoft.com/office/drawing/2014/main" id="{F9E27186-5C93-4137-BFBD-8A17A33683DB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839787" y="2346563"/>
            <a:ext cx="10512425" cy="2991325"/>
          </a:xfrm>
          <a:prstGeom prst="rect">
            <a:avLst/>
          </a:prstGeom>
        </p:spPr>
        <p:txBody>
          <a:bodyPr lIns="0" tIns="0" rIns="0" bIns="0" numCol="2" spcCol="720000">
            <a:noAutofit/>
          </a:bodyPr>
          <a:lstStyle>
            <a:lvl1pPr marL="0" indent="0">
              <a:spcBef>
                <a:spcPts val="0"/>
              </a:spcBef>
              <a:spcAft>
                <a:spcPts val="400"/>
              </a:spcAft>
              <a:buFontTx/>
              <a:buNone/>
              <a:defRPr sz="1400" b="0">
                <a:latin typeface="+mn-lt"/>
              </a:defRPr>
            </a:lvl1pPr>
            <a:lvl2pPr marL="288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400" b="0">
                <a:latin typeface="+mn-lt"/>
              </a:defRPr>
            </a:lvl2pPr>
            <a:lvl3pPr marL="576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 b="0">
                <a:latin typeface="+mn-lt"/>
              </a:defRPr>
            </a:lvl3pPr>
            <a:lvl4pPr marL="576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400" b="0">
                <a:latin typeface="+mn-lt"/>
              </a:defRPr>
            </a:lvl4pPr>
            <a:lvl5pPr marL="576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 b="0">
                <a:latin typeface="+mn-lt"/>
              </a:defRPr>
            </a:lvl5pPr>
          </a:lstStyle>
          <a:p>
            <a:pPr lvl="0"/>
            <a:r>
              <a:rPr lang="cs-CZ"/>
              <a:t>První úroveň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</p:txBody>
      </p:sp>
      <p:sp>
        <p:nvSpPr>
          <p:cNvPr id="13" name="Zástupný text 20">
            <a:extLst>
              <a:ext uri="{FF2B5EF4-FFF2-40B4-BE49-F238E27FC236}">
                <a16:creationId xmlns:a16="http://schemas.microsoft.com/office/drawing/2014/main" id="{61A62809-FC5C-41AD-A8D3-1DC73A07A41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9416" y="764768"/>
            <a:ext cx="10512797" cy="576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cs-CZ"/>
              <a:t>Titulek SemiBold 36</a:t>
            </a:r>
          </a:p>
        </p:txBody>
      </p:sp>
      <p:pic>
        <p:nvPicPr>
          <p:cNvPr id="15" name="Obrázek 14">
            <a:extLst>
              <a:ext uri="{FF2B5EF4-FFF2-40B4-BE49-F238E27FC236}">
                <a16:creationId xmlns:a16="http://schemas.microsoft.com/office/drawing/2014/main" id="{2EBC0BD1-FC38-4E3F-A871-85154008F30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07368" y="6551539"/>
            <a:ext cx="216000" cy="201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468475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ozložení 0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Obdélník 15">
            <a:extLst>
              <a:ext uri="{FF2B5EF4-FFF2-40B4-BE49-F238E27FC236}">
                <a16:creationId xmlns:a16="http://schemas.microsoft.com/office/drawing/2014/main" id="{51FB6813-A0A5-4E71-8552-B793DDBD398C}"/>
              </a:ext>
            </a:extLst>
          </p:cNvPr>
          <p:cNvSpPr/>
          <p:nvPr userDrawn="1"/>
        </p:nvSpPr>
        <p:spPr bwMode="gray">
          <a:xfrm>
            <a:off x="407988" y="404664"/>
            <a:ext cx="11376024" cy="6039698"/>
          </a:xfrm>
          <a:prstGeom prst="rect">
            <a:avLst/>
          </a:prstGeom>
          <a:solidFill>
            <a:schemeClr val="accent4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ctr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cs-CZ" sz="1400" dirty="0">
              <a:solidFill>
                <a:schemeClr val="bg1"/>
              </a:solidFill>
            </a:endParaRPr>
          </a:p>
        </p:txBody>
      </p:sp>
      <p:sp>
        <p:nvSpPr>
          <p:cNvPr id="4" name="Nadpis 1">
            <a:extLst>
              <a:ext uri="{FF2B5EF4-FFF2-40B4-BE49-F238E27FC236}">
                <a16:creationId xmlns:a16="http://schemas.microsoft.com/office/drawing/2014/main" id="{E16062BB-C8D7-415D-9B6E-551C520242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9416" y="1367998"/>
            <a:ext cx="10512797" cy="187200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48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cs-CZ"/>
              <a:t>Titulek SemiBold 48</a:t>
            </a:r>
            <a:br>
              <a:rPr lang="cs-CZ"/>
            </a:br>
            <a:r>
              <a:rPr lang="cs-CZ"/>
              <a:t>Může být dlouhý</a:t>
            </a:r>
          </a:p>
        </p:txBody>
      </p:sp>
      <p:sp>
        <p:nvSpPr>
          <p:cNvPr id="7" name="Zástupný text 3">
            <a:extLst>
              <a:ext uri="{FF2B5EF4-FFF2-40B4-BE49-F238E27FC236}">
                <a16:creationId xmlns:a16="http://schemas.microsoft.com/office/drawing/2014/main" id="{1B05C9D0-8A64-434C-B0AC-C71CC0D13CC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9416" y="836752"/>
            <a:ext cx="10512797" cy="36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800" u="sng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cs-CZ"/>
              <a:t>Doplňkový titulek Regular 18 Underlined</a:t>
            </a:r>
          </a:p>
        </p:txBody>
      </p:sp>
      <p:sp>
        <p:nvSpPr>
          <p:cNvPr id="12" name="Zástupný symbol pro číslo snímku 2">
            <a:extLst>
              <a:ext uri="{FF2B5EF4-FFF2-40B4-BE49-F238E27FC236}">
                <a16:creationId xmlns:a16="http://schemas.microsoft.com/office/drawing/2014/main" id="{67E51AF9-5D44-4EB7-AE0C-6D11BCD7FE7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40000" y="6551999"/>
            <a:ext cx="4320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900">
                <a:solidFill>
                  <a:schemeClr val="tx1"/>
                </a:solidFill>
                <a:latin typeface="+mj-lt"/>
              </a:defRPr>
            </a:lvl1pPr>
          </a:lstStyle>
          <a:p>
            <a:fld id="{46545F21-C657-4764-B5B2-92A02BE34E1E}" type="slidenum">
              <a:rPr lang="cs-CZ" smtClean="0"/>
              <a:pPr/>
              <a:t>‹#›</a:t>
            </a:fld>
            <a:endParaRPr lang="cs-CZ">
              <a:latin typeface="+mj-lt"/>
            </a:endParaRP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BFD91280-AB62-4D19-B66E-2CC6D9C35547}"/>
              </a:ext>
            </a:extLst>
          </p:cNvPr>
          <p:cNvSpPr txBox="1"/>
          <p:nvPr userDrawn="1"/>
        </p:nvSpPr>
        <p:spPr>
          <a:xfrm>
            <a:off x="9864000" y="6593500"/>
            <a:ext cx="1129052" cy="138499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 algn="r"/>
            <a:r>
              <a:rPr lang="cs-CZ" sz="900" b="1">
                <a:solidFill>
                  <a:schemeClr val="tx1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gasnet.cz</a:t>
            </a:r>
            <a:endParaRPr lang="cs-CZ" sz="900" b="1" dirty="0">
              <a:solidFill>
                <a:schemeClr val="tx1"/>
              </a:solidFill>
              <a:latin typeface="Segoe UI Semibold" panose="020B0502040204020203" pitchFamily="34" charset="0"/>
              <a:cs typeface="Segoe UI Semibold" panose="020B0502040204020203" pitchFamily="34" charset="0"/>
            </a:endParaRPr>
          </a:p>
        </p:txBody>
      </p:sp>
      <p:sp>
        <p:nvSpPr>
          <p:cNvPr id="17" name="Zástupný obsah 19">
            <a:extLst>
              <a:ext uri="{FF2B5EF4-FFF2-40B4-BE49-F238E27FC236}">
                <a16:creationId xmlns:a16="http://schemas.microsoft.com/office/drawing/2014/main" id="{EF21B807-BBBB-48A4-85C1-F231704887F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839787" y="3435422"/>
            <a:ext cx="10512425" cy="2657404"/>
          </a:xfrm>
          <a:prstGeom prst="rect">
            <a:avLst/>
          </a:prstGeom>
        </p:spPr>
        <p:txBody>
          <a:bodyPr lIns="0" tIns="0" rIns="0" bIns="0" numCol="2" spcCol="720000"/>
          <a:lstStyle>
            <a:lvl1pPr marL="0" indent="0">
              <a:spcBef>
                <a:spcPts val="0"/>
              </a:spcBef>
              <a:spcAft>
                <a:spcPts val="400"/>
              </a:spcAft>
              <a:buFontTx/>
              <a:buNone/>
              <a:defRPr sz="1400" b="0">
                <a:latin typeface="+mn-lt"/>
              </a:defRPr>
            </a:lvl1pPr>
            <a:lvl2pPr marL="288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400" b="0">
                <a:latin typeface="+mn-lt"/>
              </a:defRPr>
            </a:lvl2pPr>
            <a:lvl3pPr marL="576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 b="0">
                <a:latin typeface="+mn-lt"/>
              </a:defRPr>
            </a:lvl3pPr>
            <a:lvl4pPr marL="576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None/>
              <a:defRPr sz="1400" b="0">
                <a:latin typeface="+mn-lt"/>
              </a:defRPr>
            </a:lvl4pPr>
            <a:lvl5pPr marL="576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 b="0">
                <a:latin typeface="+mn-lt"/>
              </a:defRPr>
            </a:lvl5pPr>
          </a:lstStyle>
          <a:p>
            <a:pPr lvl="0"/>
            <a:r>
              <a:rPr lang="cs-CZ"/>
              <a:t>První úroveň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</p:txBody>
      </p:sp>
      <p:pic>
        <p:nvPicPr>
          <p:cNvPr id="9" name="Obrázek 8">
            <a:extLst>
              <a:ext uri="{FF2B5EF4-FFF2-40B4-BE49-F238E27FC236}">
                <a16:creationId xmlns:a16="http://schemas.microsoft.com/office/drawing/2014/main" id="{548A4B9D-7FE1-4DF0-AAC1-E35DE0A9D7C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07368" y="6551539"/>
            <a:ext cx="216000" cy="201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421604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ozložení 0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F5A70543-8F60-4D62-986D-707386DD74B1}"/>
              </a:ext>
            </a:extLst>
          </p:cNvPr>
          <p:cNvSpPr/>
          <p:nvPr userDrawn="1"/>
        </p:nvSpPr>
        <p:spPr bwMode="gray">
          <a:xfrm>
            <a:off x="407988" y="413490"/>
            <a:ext cx="11376024" cy="6039698"/>
          </a:xfrm>
          <a:prstGeom prst="rect">
            <a:avLst/>
          </a:prstGeom>
          <a:solidFill>
            <a:schemeClr val="accent4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ctr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cs-CZ" sz="1400" dirty="0">
              <a:solidFill>
                <a:schemeClr val="bg1"/>
              </a:solidFill>
            </a:endParaRPr>
          </a:p>
        </p:txBody>
      </p:sp>
      <p:sp>
        <p:nvSpPr>
          <p:cNvPr id="4" name="Nadpis 1">
            <a:extLst>
              <a:ext uri="{FF2B5EF4-FFF2-40B4-BE49-F238E27FC236}">
                <a16:creationId xmlns:a16="http://schemas.microsoft.com/office/drawing/2014/main" id="{E16062BB-C8D7-415D-9B6E-551C520242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9416" y="1367998"/>
            <a:ext cx="10512797" cy="187200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48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cs-CZ"/>
              <a:t>Titulek SemiBold 48</a:t>
            </a:r>
            <a:br>
              <a:rPr lang="cs-CZ"/>
            </a:br>
            <a:r>
              <a:rPr lang="cs-CZ"/>
              <a:t>Může být dlouhý</a:t>
            </a:r>
          </a:p>
        </p:txBody>
      </p:sp>
      <p:sp>
        <p:nvSpPr>
          <p:cNvPr id="7" name="Zástupný text 3">
            <a:extLst>
              <a:ext uri="{FF2B5EF4-FFF2-40B4-BE49-F238E27FC236}">
                <a16:creationId xmlns:a16="http://schemas.microsoft.com/office/drawing/2014/main" id="{1B05C9D0-8A64-434C-B0AC-C71CC0D13CC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9416" y="836752"/>
            <a:ext cx="10512797" cy="36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800" u="sng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cs-CZ"/>
              <a:t>Doplňkový titulek Regular 18 Underlined</a:t>
            </a:r>
          </a:p>
        </p:txBody>
      </p:sp>
      <p:sp>
        <p:nvSpPr>
          <p:cNvPr id="12" name="Zástupný symbol pro číslo snímku 2">
            <a:extLst>
              <a:ext uri="{FF2B5EF4-FFF2-40B4-BE49-F238E27FC236}">
                <a16:creationId xmlns:a16="http://schemas.microsoft.com/office/drawing/2014/main" id="{67E51AF9-5D44-4EB7-AE0C-6D11BCD7FE7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40000" y="6551999"/>
            <a:ext cx="4320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900">
                <a:solidFill>
                  <a:schemeClr val="tx1"/>
                </a:solidFill>
                <a:latin typeface="+mj-lt"/>
              </a:defRPr>
            </a:lvl1pPr>
          </a:lstStyle>
          <a:p>
            <a:fld id="{46545F21-C657-4764-B5B2-92A02BE34E1E}" type="slidenum">
              <a:rPr lang="cs-CZ" smtClean="0"/>
              <a:pPr/>
              <a:t>‹#›</a:t>
            </a:fld>
            <a:endParaRPr lang="cs-CZ">
              <a:latin typeface="+mj-lt"/>
            </a:endParaRP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BFD91280-AB62-4D19-B66E-2CC6D9C35547}"/>
              </a:ext>
            </a:extLst>
          </p:cNvPr>
          <p:cNvSpPr txBox="1"/>
          <p:nvPr userDrawn="1"/>
        </p:nvSpPr>
        <p:spPr>
          <a:xfrm>
            <a:off x="9864000" y="6593500"/>
            <a:ext cx="1129052" cy="138499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 algn="r"/>
            <a:r>
              <a:rPr lang="cs-CZ" sz="900" b="1">
                <a:solidFill>
                  <a:schemeClr val="tx1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gasnet.cz</a:t>
            </a:r>
            <a:endParaRPr lang="cs-CZ" sz="900" b="1" dirty="0">
              <a:solidFill>
                <a:schemeClr val="tx1"/>
              </a:solidFill>
              <a:latin typeface="Segoe UI Semibold" panose="020B0502040204020203" pitchFamily="34" charset="0"/>
              <a:cs typeface="Segoe UI Semibold" panose="020B0502040204020203" pitchFamily="34" charset="0"/>
            </a:endParaRPr>
          </a:p>
        </p:txBody>
      </p:sp>
      <p:sp>
        <p:nvSpPr>
          <p:cNvPr id="9" name="Zástupný text 22">
            <a:extLst>
              <a:ext uri="{FF2B5EF4-FFF2-40B4-BE49-F238E27FC236}">
                <a16:creationId xmlns:a16="http://schemas.microsoft.com/office/drawing/2014/main" id="{C97046EF-91C9-49BD-B197-BDDACD144E6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527802" y="3440643"/>
            <a:ext cx="4824782" cy="1208326"/>
          </a:xfrm>
          <a:prstGeom prst="rect">
            <a:avLst/>
          </a:prstGeom>
          <a:solidFill>
            <a:schemeClr val="tx2"/>
          </a:solidFill>
        </p:spPr>
        <p:txBody>
          <a:bodyPr lIns="360000" tIns="288000" rIns="360000" bIns="360000">
            <a:spAutoFit/>
          </a:bodyPr>
          <a:lstStyle>
            <a:lvl1pPr marL="0" indent="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None/>
              <a:defRPr sz="1800">
                <a:solidFill>
                  <a:schemeClr val="bg1"/>
                </a:solidFill>
              </a:defRPr>
            </a:lvl1pPr>
            <a:lvl2pPr marL="288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"/>
              <a:defRPr sz="1800">
                <a:solidFill>
                  <a:schemeClr val="bg1"/>
                </a:solidFill>
              </a:defRPr>
            </a:lvl2pPr>
            <a:lvl3pPr marL="288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800">
                <a:solidFill>
                  <a:schemeClr val="bg1"/>
                </a:solidFill>
              </a:defRPr>
            </a:lvl3pPr>
            <a:lvl4pPr marL="576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800" b="0">
                <a:solidFill>
                  <a:schemeClr val="bg1"/>
                </a:solidFill>
              </a:defRPr>
            </a:lvl4pPr>
            <a:lvl5pPr marL="576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cs-CZ"/>
              <a:t>Tento rámeček má variabilní velikost </a:t>
            </a:r>
            <a:br>
              <a:rPr lang="cs-CZ"/>
            </a:br>
            <a:r>
              <a:rPr lang="cs-CZ"/>
              <a:t>a slouží ke zvýraznění informace v textu.</a:t>
            </a:r>
          </a:p>
        </p:txBody>
      </p:sp>
      <p:sp>
        <p:nvSpPr>
          <p:cNvPr id="15" name="Zástupný obsah 19">
            <a:extLst>
              <a:ext uri="{FF2B5EF4-FFF2-40B4-BE49-F238E27FC236}">
                <a16:creationId xmlns:a16="http://schemas.microsoft.com/office/drawing/2014/main" id="{5C999EB3-BD6E-41DE-ABBE-81A52273C9CA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839788" y="3435421"/>
            <a:ext cx="4824412" cy="265740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spcAft>
                <a:spcPts val="400"/>
              </a:spcAft>
              <a:buFontTx/>
              <a:buNone/>
              <a:defRPr sz="1400" b="0">
                <a:latin typeface="+mn-lt"/>
              </a:defRPr>
            </a:lvl1pPr>
            <a:lvl2pPr marL="288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400" b="0">
                <a:latin typeface="+mn-lt"/>
              </a:defRPr>
            </a:lvl2pPr>
            <a:lvl3pPr marL="576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 b="0">
                <a:latin typeface="+mn-lt"/>
              </a:defRPr>
            </a:lvl3pPr>
            <a:lvl4pPr marL="576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400" b="0">
                <a:latin typeface="+mn-lt"/>
              </a:defRPr>
            </a:lvl4pPr>
            <a:lvl5pPr marL="576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 b="0">
                <a:latin typeface="+mn-lt"/>
              </a:defRPr>
            </a:lvl5pPr>
          </a:lstStyle>
          <a:p>
            <a:pPr lvl="0"/>
            <a:r>
              <a:rPr lang="cs-CZ"/>
              <a:t>První úroveň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78EF0CDE-D85A-439D-9CAD-8E2AF3A42BC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07368" y="6551539"/>
            <a:ext cx="216000" cy="201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937696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ozložení 0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01C08143-C16B-47C0-90CC-B68F21E8A50C}"/>
              </a:ext>
            </a:extLst>
          </p:cNvPr>
          <p:cNvSpPr/>
          <p:nvPr userDrawn="1"/>
        </p:nvSpPr>
        <p:spPr bwMode="gray">
          <a:xfrm>
            <a:off x="407988" y="404664"/>
            <a:ext cx="11376024" cy="6039698"/>
          </a:xfrm>
          <a:prstGeom prst="rect">
            <a:avLst/>
          </a:prstGeom>
          <a:solidFill>
            <a:schemeClr val="accent4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ctr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cs-CZ" sz="1400" dirty="0">
              <a:solidFill>
                <a:schemeClr val="bg1"/>
              </a:solidFill>
            </a:endParaRPr>
          </a:p>
        </p:txBody>
      </p:sp>
      <p:sp>
        <p:nvSpPr>
          <p:cNvPr id="8" name="Zástupný symbol pro číslo snímku 2">
            <a:extLst>
              <a:ext uri="{FF2B5EF4-FFF2-40B4-BE49-F238E27FC236}">
                <a16:creationId xmlns:a16="http://schemas.microsoft.com/office/drawing/2014/main" id="{3C30EEE5-4979-4EE7-8F80-0BB042B0CEA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40000" y="6551999"/>
            <a:ext cx="4320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900">
                <a:solidFill>
                  <a:schemeClr val="tx1"/>
                </a:solidFill>
                <a:latin typeface="+mj-lt"/>
              </a:defRPr>
            </a:lvl1pPr>
          </a:lstStyle>
          <a:p>
            <a:fld id="{46545F21-C657-4764-B5B2-92A02BE34E1E}" type="slidenum">
              <a:rPr lang="cs-CZ" smtClean="0"/>
              <a:pPr/>
              <a:t>‹#›</a:t>
            </a:fld>
            <a:endParaRPr lang="cs-CZ">
              <a:latin typeface="+mj-lt"/>
            </a:endParaRP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A9E7085D-F6A7-474A-A550-667783C8DB31}"/>
              </a:ext>
            </a:extLst>
          </p:cNvPr>
          <p:cNvSpPr txBox="1"/>
          <p:nvPr userDrawn="1"/>
        </p:nvSpPr>
        <p:spPr>
          <a:xfrm>
            <a:off x="9864000" y="6593500"/>
            <a:ext cx="1129052" cy="138499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 algn="r"/>
            <a:r>
              <a:rPr lang="cs-CZ" sz="900" b="1">
                <a:solidFill>
                  <a:schemeClr val="tx1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gasnet.cz</a:t>
            </a:r>
            <a:endParaRPr lang="cs-CZ" sz="900" b="1" dirty="0">
              <a:solidFill>
                <a:schemeClr val="tx1"/>
              </a:solidFill>
              <a:latin typeface="Segoe UI Semibold" panose="020B0502040204020203" pitchFamily="34" charset="0"/>
              <a:cs typeface="Segoe UI Semibold" panose="020B0502040204020203" pitchFamily="34" charset="0"/>
            </a:endParaRPr>
          </a:p>
        </p:txBody>
      </p:sp>
      <p:sp>
        <p:nvSpPr>
          <p:cNvPr id="3" name="Nadpis 1">
            <a:extLst>
              <a:ext uri="{FF2B5EF4-FFF2-40B4-BE49-F238E27FC236}">
                <a16:creationId xmlns:a16="http://schemas.microsoft.com/office/drawing/2014/main" id="{D68238FE-6F36-48ED-83A9-49980FFE67B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9416" y="692696"/>
            <a:ext cx="10512797" cy="187200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48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cs-CZ"/>
              <a:t>Titulek SemiBold 48</a:t>
            </a:r>
            <a:br>
              <a:rPr lang="cs-CZ"/>
            </a:br>
            <a:r>
              <a:rPr lang="cs-CZ"/>
              <a:t>Může být zelený</a:t>
            </a:r>
          </a:p>
        </p:txBody>
      </p:sp>
      <p:sp>
        <p:nvSpPr>
          <p:cNvPr id="4" name="Zástupný text 20">
            <a:extLst>
              <a:ext uri="{FF2B5EF4-FFF2-40B4-BE49-F238E27FC236}">
                <a16:creationId xmlns:a16="http://schemas.microsoft.com/office/drawing/2014/main" id="{4083AEDF-B19E-4348-989C-9EC953F36AB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39416" y="2636912"/>
            <a:ext cx="10512797" cy="432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cs-CZ"/>
              <a:t>Pod ním může být titulek SemiBold 24</a:t>
            </a:r>
            <a:endParaRPr lang="cs-CZ" dirty="0"/>
          </a:p>
        </p:txBody>
      </p:sp>
      <p:sp>
        <p:nvSpPr>
          <p:cNvPr id="10" name="Zástupný obsah 19">
            <a:extLst>
              <a:ext uri="{FF2B5EF4-FFF2-40B4-BE49-F238E27FC236}">
                <a16:creationId xmlns:a16="http://schemas.microsoft.com/office/drawing/2014/main" id="{18E57E03-289A-487F-B38E-E39C04E23F90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839787" y="3435421"/>
            <a:ext cx="10512425" cy="2657404"/>
          </a:xfrm>
          <a:prstGeom prst="rect">
            <a:avLst/>
          </a:prstGeom>
        </p:spPr>
        <p:txBody>
          <a:bodyPr lIns="0" tIns="0" rIns="0" bIns="0" numCol="2" spcCol="720000"/>
          <a:lstStyle>
            <a:lvl1pPr marL="0" indent="0">
              <a:spcBef>
                <a:spcPts val="0"/>
              </a:spcBef>
              <a:spcAft>
                <a:spcPts val="400"/>
              </a:spcAft>
              <a:buFontTx/>
              <a:buNone/>
              <a:defRPr sz="1400" b="0">
                <a:latin typeface="+mn-lt"/>
              </a:defRPr>
            </a:lvl1pPr>
            <a:lvl2pPr marL="288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400" b="0">
                <a:latin typeface="+mn-lt"/>
              </a:defRPr>
            </a:lvl2pPr>
            <a:lvl3pPr marL="576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 b="0">
                <a:latin typeface="+mn-lt"/>
              </a:defRPr>
            </a:lvl3pPr>
            <a:lvl4pPr marL="576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400" b="0">
                <a:latin typeface="+mn-lt"/>
              </a:defRPr>
            </a:lvl4pPr>
            <a:lvl5pPr marL="576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 b="0">
                <a:latin typeface="+mn-lt"/>
              </a:defRPr>
            </a:lvl5pPr>
          </a:lstStyle>
          <a:p>
            <a:pPr lvl="0"/>
            <a:r>
              <a:rPr lang="cs-CZ"/>
              <a:t>První úroveň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</p:txBody>
      </p:sp>
      <p:pic>
        <p:nvPicPr>
          <p:cNvPr id="11" name="Obrázek 10">
            <a:extLst>
              <a:ext uri="{FF2B5EF4-FFF2-40B4-BE49-F238E27FC236}">
                <a16:creationId xmlns:a16="http://schemas.microsoft.com/office/drawing/2014/main" id="{36999896-4982-4A2D-8AE0-07445589ACA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07368" y="6551539"/>
            <a:ext cx="216000" cy="201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674293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ozložení 0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01C08143-C16B-47C0-90CC-B68F21E8A50C}"/>
              </a:ext>
            </a:extLst>
          </p:cNvPr>
          <p:cNvSpPr/>
          <p:nvPr userDrawn="1"/>
        </p:nvSpPr>
        <p:spPr bwMode="gray">
          <a:xfrm>
            <a:off x="407988" y="404664"/>
            <a:ext cx="11376024" cy="6039698"/>
          </a:xfrm>
          <a:prstGeom prst="rect">
            <a:avLst/>
          </a:prstGeom>
          <a:solidFill>
            <a:schemeClr val="accent4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ctr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cs-CZ" sz="1400" dirty="0">
              <a:solidFill>
                <a:schemeClr val="bg1"/>
              </a:solidFill>
            </a:endParaRPr>
          </a:p>
        </p:txBody>
      </p:sp>
      <p:sp>
        <p:nvSpPr>
          <p:cNvPr id="8" name="Zástupný symbol pro číslo snímku 2">
            <a:extLst>
              <a:ext uri="{FF2B5EF4-FFF2-40B4-BE49-F238E27FC236}">
                <a16:creationId xmlns:a16="http://schemas.microsoft.com/office/drawing/2014/main" id="{3C30EEE5-4979-4EE7-8F80-0BB042B0CEA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40000" y="6551999"/>
            <a:ext cx="4320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900">
                <a:solidFill>
                  <a:schemeClr val="tx1"/>
                </a:solidFill>
                <a:latin typeface="+mj-lt"/>
              </a:defRPr>
            </a:lvl1pPr>
          </a:lstStyle>
          <a:p>
            <a:fld id="{46545F21-C657-4764-B5B2-92A02BE34E1E}" type="slidenum">
              <a:rPr lang="cs-CZ" smtClean="0"/>
              <a:pPr/>
              <a:t>‹#›</a:t>
            </a:fld>
            <a:endParaRPr lang="cs-CZ">
              <a:latin typeface="+mj-lt"/>
            </a:endParaRP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A9E7085D-F6A7-474A-A550-667783C8DB31}"/>
              </a:ext>
            </a:extLst>
          </p:cNvPr>
          <p:cNvSpPr txBox="1"/>
          <p:nvPr userDrawn="1"/>
        </p:nvSpPr>
        <p:spPr>
          <a:xfrm>
            <a:off x="9864000" y="6593500"/>
            <a:ext cx="1129052" cy="138499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 algn="r"/>
            <a:r>
              <a:rPr lang="cs-CZ" sz="900" b="1">
                <a:solidFill>
                  <a:schemeClr val="tx1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gasnet.cz</a:t>
            </a:r>
            <a:endParaRPr lang="cs-CZ" sz="900" b="1" dirty="0">
              <a:solidFill>
                <a:schemeClr val="tx1"/>
              </a:solidFill>
              <a:latin typeface="Segoe UI Semibold" panose="020B0502040204020203" pitchFamily="34" charset="0"/>
              <a:cs typeface="Segoe UI Semibold" panose="020B0502040204020203" pitchFamily="34" charset="0"/>
            </a:endParaRPr>
          </a:p>
        </p:txBody>
      </p:sp>
      <p:sp>
        <p:nvSpPr>
          <p:cNvPr id="3" name="Nadpis 1">
            <a:extLst>
              <a:ext uri="{FF2B5EF4-FFF2-40B4-BE49-F238E27FC236}">
                <a16:creationId xmlns:a16="http://schemas.microsoft.com/office/drawing/2014/main" id="{D68238FE-6F36-48ED-83A9-49980FFE67B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9416" y="692696"/>
            <a:ext cx="10512797" cy="187200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48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cs-CZ"/>
              <a:t>Titulek SemiBold 48</a:t>
            </a:r>
            <a:br>
              <a:rPr lang="cs-CZ"/>
            </a:br>
            <a:r>
              <a:rPr lang="cs-CZ"/>
              <a:t>Může být zelený</a:t>
            </a:r>
          </a:p>
        </p:txBody>
      </p:sp>
      <p:sp>
        <p:nvSpPr>
          <p:cNvPr id="4" name="Zástupný text 20">
            <a:extLst>
              <a:ext uri="{FF2B5EF4-FFF2-40B4-BE49-F238E27FC236}">
                <a16:creationId xmlns:a16="http://schemas.microsoft.com/office/drawing/2014/main" id="{4083AEDF-B19E-4348-989C-9EC953F36AB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39416" y="2636912"/>
            <a:ext cx="10512797" cy="432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cs-CZ"/>
              <a:t>Pod ním může být titulek SemiBold 24</a:t>
            </a:r>
            <a:endParaRPr lang="cs-CZ" dirty="0"/>
          </a:p>
        </p:txBody>
      </p:sp>
      <p:sp>
        <p:nvSpPr>
          <p:cNvPr id="10" name="Zástupný text 22">
            <a:extLst>
              <a:ext uri="{FF2B5EF4-FFF2-40B4-BE49-F238E27FC236}">
                <a16:creationId xmlns:a16="http://schemas.microsoft.com/office/drawing/2014/main" id="{1506A399-283F-4F8D-AA1A-49D0260A1BA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527802" y="3440643"/>
            <a:ext cx="4824782" cy="1208326"/>
          </a:xfrm>
          <a:prstGeom prst="rect">
            <a:avLst/>
          </a:prstGeom>
          <a:solidFill>
            <a:schemeClr val="tx2"/>
          </a:solidFill>
        </p:spPr>
        <p:txBody>
          <a:bodyPr lIns="360000" tIns="288000" rIns="360000" bIns="360000">
            <a:spAutoFit/>
          </a:bodyPr>
          <a:lstStyle>
            <a:lvl1pPr marL="0" indent="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None/>
              <a:defRPr sz="1800">
                <a:solidFill>
                  <a:schemeClr val="bg1"/>
                </a:solidFill>
              </a:defRPr>
            </a:lvl1pPr>
            <a:lvl2pPr marL="288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"/>
              <a:defRPr sz="1800">
                <a:solidFill>
                  <a:schemeClr val="bg1"/>
                </a:solidFill>
              </a:defRPr>
            </a:lvl2pPr>
            <a:lvl3pPr marL="288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800">
                <a:solidFill>
                  <a:schemeClr val="bg1"/>
                </a:solidFill>
              </a:defRPr>
            </a:lvl3pPr>
            <a:lvl4pPr marL="576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800" b="0">
                <a:solidFill>
                  <a:schemeClr val="bg1"/>
                </a:solidFill>
              </a:defRPr>
            </a:lvl4pPr>
            <a:lvl5pPr marL="576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cs-CZ"/>
              <a:t>Tento rámeček má variabilní velikost </a:t>
            </a:r>
            <a:br>
              <a:rPr lang="cs-CZ"/>
            </a:br>
            <a:r>
              <a:rPr lang="cs-CZ"/>
              <a:t>a slouží ke zvýraznění informace v textu.</a:t>
            </a:r>
          </a:p>
        </p:txBody>
      </p:sp>
      <p:sp>
        <p:nvSpPr>
          <p:cNvPr id="11" name="Zástupný obsah 19">
            <a:extLst>
              <a:ext uri="{FF2B5EF4-FFF2-40B4-BE49-F238E27FC236}">
                <a16:creationId xmlns:a16="http://schemas.microsoft.com/office/drawing/2014/main" id="{0456CB7B-103E-462F-B9CE-F6C0E3AF20D0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839787" y="3435421"/>
            <a:ext cx="4824413" cy="265740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spcAft>
                <a:spcPts val="400"/>
              </a:spcAft>
              <a:buFontTx/>
              <a:buNone/>
              <a:defRPr sz="1400" b="0">
                <a:latin typeface="+mn-lt"/>
              </a:defRPr>
            </a:lvl1pPr>
            <a:lvl2pPr marL="288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400" b="0">
                <a:latin typeface="+mn-lt"/>
              </a:defRPr>
            </a:lvl2pPr>
            <a:lvl3pPr marL="576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 b="0">
                <a:latin typeface="+mn-lt"/>
              </a:defRPr>
            </a:lvl3pPr>
            <a:lvl4pPr marL="576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400" b="0">
                <a:latin typeface="+mn-lt"/>
              </a:defRPr>
            </a:lvl4pPr>
            <a:lvl5pPr marL="576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 b="0">
                <a:latin typeface="+mn-lt"/>
              </a:defRPr>
            </a:lvl5pPr>
          </a:lstStyle>
          <a:p>
            <a:pPr lvl="0"/>
            <a:r>
              <a:rPr lang="cs-CZ"/>
              <a:t>První úroveň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</p:txBody>
      </p:sp>
      <p:pic>
        <p:nvPicPr>
          <p:cNvPr id="12" name="Obrázek 11">
            <a:extLst>
              <a:ext uri="{FF2B5EF4-FFF2-40B4-BE49-F238E27FC236}">
                <a16:creationId xmlns:a16="http://schemas.microsoft.com/office/drawing/2014/main" id="{B3F3A67F-29C5-4615-9DF5-F310C25E395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07368" y="6551539"/>
            <a:ext cx="216000" cy="201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728177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ozložení 0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délník 6">
            <a:extLst>
              <a:ext uri="{FF2B5EF4-FFF2-40B4-BE49-F238E27FC236}">
                <a16:creationId xmlns:a16="http://schemas.microsoft.com/office/drawing/2014/main" id="{4BD3748A-B85A-4E25-9C4F-B801C8408BE8}"/>
              </a:ext>
            </a:extLst>
          </p:cNvPr>
          <p:cNvSpPr/>
          <p:nvPr userDrawn="1"/>
        </p:nvSpPr>
        <p:spPr bwMode="gray">
          <a:xfrm>
            <a:off x="407988" y="404664"/>
            <a:ext cx="11376024" cy="6039698"/>
          </a:xfrm>
          <a:prstGeom prst="rect">
            <a:avLst/>
          </a:prstGeom>
          <a:solidFill>
            <a:schemeClr val="accent4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ctr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cs-CZ" sz="1400" dirty="0">
              <a:solidFill>
                <a:schemeClr val="bg1"/>
              </a:solidFill>
            </a:endParaRPr>
          </a:p>
        </p:txBody>
      </p:sp>
      <p:sp>
        <p:nvSpPr>
          <p:cNvPr id="9" name="Zástupný symbol pro číslo snímku 2">
            <a:extLst>
              <a:ext uri="{FF2B5EF4-FFF2-40B4-BE49-F238E27FC236}">
                <a16:creationId xmlns:a16="http://schemas.microsoft.com/office/drawing/2014/main" id="{2C389A1A-04C6-477D-8A58-483ECD73BAF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40000" y="6551999"/>
            <a:ext cx="4320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900">
                <a:solidFill>
                  <a:schemeClr val="tx1"/>
                </a:solidFill>
                <a:latin typeface="+mj-lt"/>
              </a:defRPr>
            </a:lvl1pPr>
          </a:lstStyle>
          <a:p>
            <a:fld id="{46545F21-C657-4764-B5B2-92A02BE34E1E}" type="slidenum">
              <a:rPr lang="cs-CZ" smtClean="0"/>
              <a:pPr/>
              <a:t>‹#›</a:t>
            </a:fld>
            <a:endParaRPr lang="cs-CZ">
              <a:latin typeface="+mj-lt"/>
            </a:endParaRP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013B3BA4-D21D-4EC9-B535-7A8438A5CE22}"/>
              </a:ext>
            </a:extLst>
          </p:cNvPr>
          <p:cNvSpPr txBox="1"/>
          <p:nvPr userDrawn="1"/>
        </p:nvSpPr>
        <p:spPr>
          <a:xfrm>
            <a:off x="9864000" y="6593500"/>
            <a:ext cx="1129052" cy="138499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 algn="r"/>
            <a:r>
              <a:rPr lang="cs-CZ" sz="900" b="1">
                <a:solidFill>
                  <a:schemeClr val="tx1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gasnet.cz</a:t>
            </a:r>
            <a:endParaRPr lang="cs-CZ" sz="900" b="1" dirty="0">
              <a:solidFill>
                <a:schemeClr val="tx1"/>
              </a:solidFill>
              <a:latin typeface="Segoe UI Semibold" panose="020B0502040204020203" pitchFamily="34" charset="0"/>
              <a:cs typeface="Segoe UI Semibold" panose="020B0502040204020203" pitchFamily="34" charset="0"/>
            </a:endParaRPr>
          </a:p>
        </p:txBody>
      </p:sp>
      <p:sp>
        <p:nvSpPr>
          <p:cNvPr id="3" name="Nadpis 1">
            <a:extLst>
              <a:ext uri="{FF2B5EF4-FFF2-40B4-BE49-F238E27FC236}">
                <a16:creationId xmlns:a16="http://schemas.microsoft.com/office/drawing/2014/main" id="{7D1DC208-48D1-424B-9357-7A1E2B9894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9416" y="692904"/>
            <a:ext cx="10512797" cy="221599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lnSpc>
                <a:spcPct val="100000"/>
              </a:lnSpc>
              <a:defRPr sz="48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cs-CZ"/>
              <a:t>Titulek SemiBold 48</a:t>
            </a:r>
            <a:br>
              <a:rPr lang="cs-CZ"/>
            </a:br>
            <a:r>
              <a:rPr lang="cs-CZ"/>
              <a:t>může být klidně přes celou </a:t>
            </a:r>
            <a:br>
              <a:rPr lang="cs-CZ"/>
            </a:br>
            <a:r>
              <a:rPr lang="cs-CZ"/>
              <a:t>šířku slidu</a:t>
            </a:r>
          </a:p>
        </p:txBody>
      </p:sp>
      <p:sp>
        <p:nvSpPr>
          <p:cNvPr id="4" name="Zástupný text 20">
            <a:extLst>
              <a:ext uri="{FF2B5EF4-FFF2-40B4-BE49-F238E27FC236}">
                <a16:creationId xmlns:a16="http://schemas.microsoft.com/office/drawing/2014/main" id="{A96159FE-F217-4291-8343-E0256C0818A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39416" y="3429048"/>
            <a:ext cx="4824784" cy="738664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cs-CZ"/>
              <a:t>„Pod ním může být třeba citát </a:t>
            </a:r>
            <a:br>
              <a:rPr lang="cs-CZ"/>
            </a:br>
            <a:r>
              <a:rPr lang="cs-CZ"/>
              <a:t>ve stylu titulek SemiBold 24“</a:t>
            </a:r>
            <a:endParaRPr lang="cs-CZ" dirty="0"/>
          </a:p>
        </p:txBody>
      </p:sp>
      <p:sp>
        <p:nvSpPr>
          <p:cNvPr id="11" name="Zástupný obsah 19">
            <a:extLst>
              <a:ext uri="{FF2B5EF4-FFF2-40B4-BE49-F238E27FC236}">
                <a16:creationId xmlns:a16="http://schemas.microsoft.com/office/drawing/2014/main" id="{B9AAC60E-4058-4192-8BA3-B8223A90A13A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527428" y="3435421"/>
            <a:ext cx="4824784" cy="265740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spcAft>
                <a:spcPts val="400"/>
              </a:spcAft>
              <a:buFontTx/>
              <a:buNone/>
              <a:defRPr sz="1400" b="0">
                <a:latin typeface="+mn-lt"/>
              </a:defRPr>
            </a:lvl1pPr>
            <a:lvl2pPr marL="288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400" b="0">
                <a:latin typeface="+mn-lt"/>
              </a:defRPr>
            </a:lvl2pPr>
            <a:lvl3pPr marL="576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 b="0">
                <a:latin typeface="+mn-lt"/>
              </a:defRPr>
            </a:lvl3pPr>
            <a:lvl4pPr marL="576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None/>
              <a:defRPr sz="1400" b="0">
                <a:latin typeface="+mn-lt"/>
              </a:defRPr>
            </a:lvl4pPr>
            <a:lvl5pPr marL="576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 b="0">
                <a:latin typeface="+mn-lt"/>
              </a:defRPr>
            </a:lvl5pPr>
          </a:lstStyle>
          <a:p>
            <a:pPr lvl="0"/>
            <a:r>
              <a:rPr lang="cs-CZ"/>
              <a:t>První úroveň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</p:txBody>
      </p:sp>
      <p:pic>
        <p:nvPicPr>
          <p:cNvPr id="12" name="Obrázek 11">
            <a:extLst>
              <a:ext uri="{FF2B5EF4-FFF2-40B4-BE49-F238E27FC236}">
                <a16:creationId xmlns:a16="http://schemas.microsoft.com/office/drawing/2014/main" id="{5CCBBD2D-A8B3-437C-8038-11E1CBC0FFC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07368" y="6551539"/>
            <a:ext cx="216000" cy="201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841933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ozložení 09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délník 1">
            <a:extLst>
              <a:ext uri="{FF2B5EF4-FFF2-40B4-BE49-F238E27FC236}">
                <a16:creationId xmlns:a16="http://schemas.microsoft.com/office/drawing/2014/main" id="{1B93E936-06F7-4ACF-BA3B-1B908FB0ED86}"/>
              </a:ext>
            </a:extLst>
          </p:cNvPr>
          <p:cNvSpPr/>
          <p:nvPr userDrawn="1"/>
        </p:nvSpPr>
        <p:spPr bwMode="gray">
          <a:xfrm>
            <a:off x="407988" y="413490"/>
            <a:ext cx="11376024" cy="6039698"/>
          </a:xfrm>
          <a:prstGeom prst="rect">
            <a:avLst/>
          </a:prstGeom>
          <a:solidFill>
            <a:schemeClr val="accent4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ctr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cs-CZ" sz="1400" dirty="0">
              <a:solidFill>
                <a:schemeClr val="bg1"/>
              </a:solidFill>
            </a:endParaRPr>
          </a:p>
        </p:txBody>
      </p:sp>
      <p:sp>
        <p:nvSpPr>
          <p:cNvPr id="6" name="Zástupný text 20">
            <a:extLst>
              <a:ext uri="{FF2B5EF4-FFF2-40B4-BE49-F238E27FC236}">
                <a16:creationId xmlns:a16="http://schemas.microsoft.com/office/drawing/2014/main" id="{DCF5FD02-CEE1-40FD-B5E3-6DCFC5EBE86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27800" y="764704"/>
            <a:ext cx="4824413" cy="110799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AU"/>
              <a:t>Vložte hlavní</a:t>
            </a:r>
            <a:r>
              <a:rPr lang="cs-CZ"/>
              <a:t> </a:t>
            </a:r>
            <a:br>
              <a:rPr lang="cs-CZ"/>
            </a:br>
            <a:r>
              <a:rPr lang="en-AU"/>
              <a:t>nadpis</a:t>
            </a:r>
            <a:endParaRPr lang="en-AU" dirty="0"/>
          </a:p>
        </p:txBody>
      </p:sp>
      <p:sp>
        <p:nvSpPr>
          <p:cNvPr id="8" name="Zástupný text 22">
            <a:extLst>
              <a:ext uri="{FF2B5EF4-FFF2-40B4-BE49-F238E27FC236}">
                <a16:creationId xmlns:a16="http://schemas.microsoft.com/office/drawing/2014/main" id="{6B27746C-BC23-4A36-AF1E-C046056125B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27800" y="3429000"/>
            <a:ext cx="4824413" cy="2376264"/>
          </a:xfrm>
          <a:prstGeom prst="rect">
            <a:avLst/>
          </a:prstGeom>
        </p:spPr>
        <p:txBody>
          <a:bodyPr lIns="0" tIns="0" rIns="0" bIns="0" numCol="1" spcCol="360000">
            <a:noAutofit/>
          </a:bodyPr>
          <a:lstStyle>
            <a:lvl1pPr marL="0" indent="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None/>
              <a:defRPr sz="1400">
                <a:solidFill>
                  <a:schemeClr val="tx1"/>
                </a:solidFill>
              </a:defRPr>
            </a:lvl1pPr>
            <a:lvl2pPr marL="288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"/>
              <a:defRPr sz="1400">
                <a:solidFill>
                  <a:schemeClr val="tx1"/>
                </a:solidFill>
              </a:defRPr>
            </a:lvl2pPr>
            <a:lvl3pPr marL="576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>
                <a:solidFill>
                  <a:schemeClr val="tx1"/>
                </a:solidFill>
              </a:defRPr>
            </a:lvl3pPr>
            <a:lvl4pPr marL="576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400" b="0">
                <a:solidFill>
                  <a:schemeClr val="tx1"/>
                </a:solidFill>
              </a:defRPr>
            </a:lvl4pPr>
            <a:lvl5pPr marL="573750" indent="-28575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rvní úroveň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</p:txBody>
      </p:sp>
      <p:sp>
        <p:nvSpPr>
          <p:cNvPr id="12" name="Zástupný text 3">
            <a:extLst>
              <a:ext uri="{FF2B5EF4-FFF2-40B4-BE49-F238E27FC236}">
                <a16:creationId xmlns:a16="http://schemas.microsoft.com/office/drawing/2014/main" id="{703C8AFA-1D1D-4FEC-9D71-79A9874903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527800" y="5998172"/>
            <a:ext cx="4824413" cy="12311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800" u="none">
                <a:solidFill>
                  <a:schemeClr val="tx1"/>
                </a:solidFill>
                <a:latin typeface="+mn-lt"/>
                <a:cs typeface="Segoe UI" panose="020B0502040204020203" pitchFamily="34" charset="0"/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cs-CZ"/>
              <a:t>Popisky pod čarou Light 8</a:t>
            </a:r>
          </a:p>
        </p:txBody>
      </p:sp>
      <p:sp>
        <p:nvSpPr>
          <p:cNvPr id="16" name="Zástupný symbol pro číslo snímku 2">
            <a:extLst>
              <a:ext uri="{FF2B5EF4-FFF2-40B4-BE49-F238E27FC236}">
                <a16:creationId xmlns:a16="http://schemas.microsoft.com/office/drawing/2014/main" id="{B9E3D326-5370-4A92-A89B-E96221EB41A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40000" y="6551999"/>
            <a:ext cx="4320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900">
                <a:solidFill>
                  <a:schemeClr val="tx1"/>
                </a:solidFill>
                <a:latin typeface="+mj-lt"/>
              </a:defRPr>
            </a:lvl1pPr>
          </a:lstStyle>
          <a:p>
            <a:fld id="{46545F21-C657-4764-B5B2-92A02BE34E1E}" type="slidenum">
              <a:rPr lang="cs-CZ" smtClean="0"/>
              <a:pPr/>
              <a:t>‹#›</a:t>
            </a:fld>
            <a:endParaRPr lang="cs-CZ">
              <a:latin typeface="+mj-lt"/>
            </a:endParaRP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EF8C060C-46B7-4BF0-BF70-A2A8046939A1}"/>
              </a:ext>
            </a:extLst>
          </p:cNvPr>
          <p:cNvSpPr txBox="1"/>
          <p:nvPr userDrawn="1"/>
        </p:nvSpPr>
        <p:spPr>
          <a:xfrm>
            <a:off x="9864000" y="6593500"/>
            <a:ext cx="1129052" cy="138499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 algn="r"/>
            <a:r>
              <a:rPr lang="cs-CZ" sz="900" b="1">
                <a:solidFill>
                  <a:schemeClr val="tx1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gasnet.cz</a:t>
            </a:r>
            <a:endParaRPr lang="cs-CZ" sz="900" b="1" dirty="0">
              <a:solidFill>
                <a:schemeClr val="tx1"/>
              </a:solidFill>
              <a:latin typeface="Segoe UI Semibold" panose="020B0502040204020203" pitchFamily="34" charset="0"/>
              <a:cs typeface="Segoe UI Semibold" panose="020B0502040204020203" pitchFamily="34" charset="0"/>
            </a:endParaRPr>
          </a:p>
        </p:txBody>
      </p:sp>
      <p:sp>
        <p:nvSpPr>
          <p:cNvPr id="19" name="Zástupný obsah 19">
            <a:extLst>
              <a:ext uri="{FF2B5EF4-FFF2-40B4-BE49-F238E27FC236}">
                <a16:creationId xmlns:a16="http://schemas.microsoft.com/office/drawing/2014/main" id="{86281210-545F-4DEE-950B-74CBDC3BCB53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839787" y="836613"/>
            <a:ext cx="4824413" cy="525620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spcAft>
                <a:spcPts val="400"/>
              </a:spcAft>
              <a:buFontTx/>
              <a:buNone/>
              <a:defRPr sz="1400" b="0">
                <a:latin typeface="+mn-lt"/>
              </a:defRPr>
            </a:lvl1pPr>
            <a:lvl2pPr marL="288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400" b="0">
                <a:latin typeface="+mn-lt"/>
              </a:defRPr>
            </a:lvl2pPr>
            <a:lvl3pPr marL="288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 b="0">
                <a:latin typeface="+mn-lt"/>
              </a:defRPr>
            </a:lvl3pPr>
            <a:lvl4pPr marL="576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400" b="0">
                <a:latin typeface="+mn-lt"/>
              </a:defRPr>
            </a:lvl4pPr>
            <a:lvl5pPr marL="576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 b="0">
                <a:latin typeface="+mn-lt"/>
              </a:defRPr>
            </a:lvl5pPr>
          </a:lstStyle>
          <a:p>
            <a:pPr lvl="0"/>
            <a:r>
              <a:rPr lang="cs-CZ"/>
              <a:t>Tabulka, graf nebo obrázek</a:t>
            </a:r>
          </a:p>
        </p:txBody>
      </p:sp>
      <p:sp>
        <p:nvSpPr>
          <p:cNvPr id="11" name="Zástupný text 3">
            <a:extLst>
              <a:ext uri="{FF2B5EF4-FFF2-40B4-BE49-F238E27FC236}">
                <a16:creationId xmlns:a16="http://schemas.microsoft.com/office/drawing/2014/main" id="{7BB54D22-D33F-4E63-9AE3-198F02DEB64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528048" y="2168876"/>
            <a:ext cx="4824784" cy="830997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1800" u="sng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r>
              <a:rPr lang="en-AU"/>
              <a:t>Sem vložte obsáhlejší podnadpis nebo úvodní odstavec, který představí problematiku znázprněnou na tomto slidu.</a:t>
            </a:r>
            <a:endParaRPr lang="en-AU" dirty="0"/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5653150F-EFFD-40AA-AD56-FFF6AD67DFD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07368" y="6551539"/>
            <a:ext cx="216000" cy="201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973924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ozložení 1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délník 1">
            <a:extLst>
              <a:ext uri="{FF2B5EF4-FFF2-40B4-BE49-F238E27FC236}">
                <a16:creationId xmlns:a16="http://schemas.microsoft.com/office/drawing/2014/main" id="{1B93E936-06F7-4ACF-BA3B-1B908FB0ED86}"/>
              </a:ext>
            </a:extLst>
          </p:cNvPr>
          <p:cNvSpPr/>
          <p:nvPr userDrawn="1"/>
        </p:nvSpPr>
        <p:spPr bwMode="gray">
          <a:xfrm>
            <a:off x="407988" y="413490"/>
            <a:ext cx="11376024" cy="6039698"/>
          </a:xfrm>
          <a:prstGeom prst="rect">
            <a:avLst/>
          </a:prstGeom>
          <a:solidFill>
            <a:schemeClr val="accent4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ctr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cs-CZ" sz="1400" dirty="0">
              <a:solidFill>
                <a:schemeClr val="bg1"/>
              </a:solidFill>
            </a:endParaRPr>
          </a:p>
        </p:txBody>
      </p:sp>
      <p:sp>
        <p:nvSpPr>
          <p:cNvPr id="6" name="Zástupný text 20">
            <a:extLst>
              <a:ext uri="{FF2B5EF4-FFF2-40B4-BE49-F238E27FC236}">
                <a16:creationId xmlns:a16="http://schemas.microsoft.com/office/drawing/2014/main" id="{DCF5FD02-CEE1-40FD-B5E3-6DCFC5EBE86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27800" y="3429000"/>
            <a:ext cx="4824784" cy="110799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cs-CZ"/>
              <a:t>Vložte nadpis. V rámci gridu lze kombinovat obrazovou a textovou část dle potřeby.</a:t>
            </a:r>
          </a:p>
        </p:txBody>
      </p:sp>
      <p:sp>
        <p:nvSpPr>
          <p:cNvPr id="8" name="Zástupný text 22">
            <a:extLst>
              <a:ext uri="{FF2B5EF4-FFF2-40B4-BE49-F238E27FC236}">
                <a16:creationId xmlns:a16="http://schemas.microsoft.com/office/drawing/2014/main" id="{6B27746C-BC23-4A36-AF1E-C046056125B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27800" y="4806747"/>
            <a:ext cx="4824413" cy="953432"/>
          </a:xfrm>
          <a:prstGeom prst="rect">
            <a:avLst/>
          </a:prstGeom>
        </p:spPr>
        <p:txBody>
          <a:bodyPr lIns="0" tIns="0" rIns="0" bIns="0" numCol="1" spcCol="360000">
            <a:noAutofit/>
          </a:bodyPr>
          <a:lstStyle>
            <a:lvl1pPr marL="0" indent="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None/>
              <a:defRPr sz="1400">
                <a:solidFill>
                  <a:schemeClr val="tx1"/>
                </a:solidFill>
              </a:defRPr>
            </a:lvl1pPr>
            <a:lvl2pPr marL="288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"/>
              <a:defRPr sz="1400">
                <a:solidFill>
                  <a:schemeClr val="tx1"/>
                </a:solidFill>
              </a:defRPr>
            </a:lvl2pPr>
            <a:lvl3pPr marL="576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>
                <a:solidFill>
                  <a:schemeClr val="tx1"/>
                </a:solidFill>
              </a:defRPr>
            </a:lvl3pPr>
            <a:lvl4pPr marL="576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400" b="0">
                <a:solidFill>
                  <a:schemeClr val="tx1"/>
                </a:solidFill>
              </a:defRPr>
            </a:lvl4pPr>
            <a:lvl5pPr marL="573750" indent="-28575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rvní úroveň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</p:txBody>
      </p:sp>
      <p:sp>
        <p:nvSpPr>
          <p:cNvPr id="12" name="Zástupný text 3">
            <a:extLst>
              <a:ext uri="{FF2B5EF4-FFF2-40B4-BE49-F238E27FC236}">
                <a16:creationId xmlns:a16="http://schemas.microsoft.com/office/drawing/2014/main" id="{703C8AFA-1D1D-4FEC-9D71-79A9874903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527800" y="5998568"/>
            <a:ext cx="4824413" cy="12311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800" u="none">
                <a:solidFill>
                  <a:schemeClr val="tx1"/>
                </a:solidFill>
                <a:latin typeface="+mn-lt"/>
                <a:cs typeface="Segoe UI" panose="020B0502040204020203" pitchFamily="34" charset="0"/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cs-CZ"/>
              <a:t>Popisky pod čarou Light 8</a:t>
            </a:r>
          </a:p>
        </p:txBody>
      </p:sp>
      <p:sp>
        <p:nvSpPr>
          <p:cNvPr id="16" name="Zástupný symbol pro číslo snímku 2">
            <a:extLst>
              <a:ext uri="{FF2B5EF4-FFF2-40B4-BE49-F238E27FC236}">
                <a16:creationId xmlns:a16="http://schemas.microsoft.com/office/drawing/2014/main" id="{B9E3D326-5370-4A92-A89B-E96221EB41A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40000" y="6551999"/>
            <a:ext cx="4320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900">
                <a:solidFill>
                  <a:schemeClr val="tx1"/>
                </a:solidFill>
                <a:latin typeface="+mj-lt"/>
              </a:defRPr>
            </a:lvl1pPr>
          </a:lstStyle>
          <a:p>
            <a:fld id="{46545F21-C657-4764-B5B2-92A02BE34E1E}" type="slidenum">
              <a:rPr lang="cs-CZ" smtClean="0"/>
              <a:pPr/>
              <a:t>‹#›</a:t>
            </a:fld>
            <a:endParaRPr lang="cs-CZ">
              <a:latin typeface="+mj-lt"/>
            </a:endParaRP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EF8C060C-46B7-4BF0-BF70-A2A8046939A1}"/>
              </a:ext>
            </a:extLst>
          </p:cNvPr>
          <p:cNvSpPr txBox="1"/>
          <p:nvPr userDrawn="1"/>
        </p:nvSpPr>
        <p:spPr>
          <a:xfrm>
            <a:off x="9864000" y="6593500"/>
            <a:ext cx="1129052" cy="138499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 algn="r"/>
            <a:r>
              <a:rPr lang="cs-CZ" sz="900" b="1">
                <a:solidFill>
                  <a:schemeClr val="tx1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gasnet.cz</a:t>
            </a:r>
            <a:endParaRPr lang="cs-CZ" sz="900" b="1" dirty="0">
              <a:solidFill>
                <a:schemeClr val="tx1"/>
              </a:solidFill>
              <a:latin typeface="Segoe UI Semibold" panose="020B0502040204020203" pitchFamily="34" charset="0"/>
              <a:cs typeface="Segoe UI Semibold" panose="020B0502040204020203" pitchFamily="34" charset="0"/>
            </a:endParaRPr>
          </a:p>
        </p:txBody>
      </p:sp>
      <p:sp>
        <p:nvSpPr>
          <p:cNvPr id="19" name="Zástupný obsah 19">
            <a:extLst>
              <a:ext uri="{FF2B5EF4-FFF2-40B4-BE49-F238E27FC236}">
                <a16:creationId xmlns:a16="http://schemas.microsoft.com/office/drawing/2014/main" id="{86281210-545F-4DEE-950B-74CBDC3BCB53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839787" y="836613"/>
            <a:ext cx="4824413" cy="5256209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spcAft>
                <a:spcPts val="400"/>
              </a:spcAft>
              <a:buFontTx/>
              <a:buNone/>
              <a:defRPr sz="1400" b="0">
                <a:latin typeface="+mn-lt"/>
              </a:defRPr>
            </a:lvl1pPr>
            <a:lvl2pPr marL="288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400" b="0">
                <a:latin typeface="+mn-lt"/>
              </a:defRPr>
            </a:lvl2pPr>
            <a:lvl3pPr marL="288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 b="0">
                <a:latin typeface="+mn-lt"/>
              </a:defRPr>
            </a:lvl3pPr>
            <a:lvl4pPr marL="576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400" b="0">
                <a:latin typeface="+mn-lt"/>
              </a:defRPr>
            </a:lvl4pPr>
            <a:lvl5pPr marL="576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 b="0">
                <a:latin typeface="+mn-lt"/>
              </a:defRPr>
            </a:lvl5pPr>
          </a:lstStyle>
          <a:p>
            <a:pPr lvl="0"/>
            <a:r>
              <a:rPr lang="cs-CZ"/>
              <a:t>Tabulka, graf nebo obrázek</a:t>
            </a:r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4F4FB60A-5465-4E22-B7A7-7858F6528E2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07368" y="6551539"/>
            <a:ext cx="216000" cy="201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450009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ka 0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Obdélník 15">
            <a:extLst>
              <a:ext uri="{FF2B5EF4-FFF2-40B4-BE49-F238E27FC236}">
                <a16:creationId xmlns:a16="http://schemas.microsoft.com/office/drawing/2014/main" id="{0D5E2C1D-30AE-4A33-B3CA-81AF06148AD2}"/>
              </a:ext>
            </a:extLst>
          </p:cNvPr>
          <p:cNvSpPr/>
          <p:nvPr userDrawn="1"/>
        </p:nvSpPr>
        <p:spPr bwMode="gray">
          <a:xfrm>
            <a:off x="407988" y="413490"/>
            <a:ext cx="11376024" cy="6039698"/>
          </a:xfrm>
          <a:prstGeom prst="rect">
            <a:avLst/>
          </a:prstGeom>
          <a:solidFill>
            <a:schemeClr val="tx2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ctr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cs-CZ" sz="1400" dirty="0">
              <a:solidFill>
                <a:schemeClr val="bg1"/>
              </a:solidFill>
            </a:endParaRPr>
          </a:p>
        </p:txBody>
      </p:sp>
      <p:sp>
        <p:nvSpPr>
          <p:cNvPr id="4" name="Nadpis 1">
            <a:extLst>
              <a:ext uri="{FF2B5EF4-FFF2-40B4-BE49-F238E27FC236}">
                <a16:creationId xmlns:a16="http://schemas.microsoft.com/office/drawing/2014/main" id="{CCD68BA9-4E8C-41EF-A0BC-8F8C0A2FDB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9416" y="3501008"/>
            <a:ext cx="5688384" cy="1512168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6500"/>
              </a:lnSpc>
              <a:defRPr sz="48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cs-CZ"/>
              <a:t>Vložte textový předěl</a:t>
            </a:r>
          </a:p>
        </p:txBody>
      </p:sp>
      <p:sp>
        <p:nvSpPr>
          <p:cNvPr id="5" name="TextovéPole 4">
            <a:extLst>
              <a:ext uri="{FF2B5EF4-FFF2-40B4-BE49-F238E27FC236}">
                <a16:creationId xmlns:a16="http://schemas.microsoft.com/office/drawing/2014/main" id="{C16E5702-594E-411F-AEC7-9F986A5C5807}"/>
              </a:ext>
            </a:extLst>
          </p:cNvPr>
          <p:cNvSpPr txBox="1"/>
          <p:nvPr userDrawn="1"/>
        </p:nvSpPr>
        <p:spPr>
          <a:xfrm>
            <a:off x="839416" y="6565642"/>
            <a:ext cx="6097604" cy="1384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cs-CZ" sz="900" b="1">
                <a:solidFill>
                  <a:schemeClr val="accent5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gasnet.cz | 555 90 10 10</a:t>
            </a:r>
            <a:endParaRPr lang="cs-CZ" sz="900" b="1" dirty="0">
              <a:solidFill>
                <a:schemeClr val="accent5"/>
              </a:solidFill>
              <a:latin typeface="Segoe UI Semibold" panose="020B0502040204020203" pitchFamily="34" charset="0"/>
              <a:cs typeface="Segoe UI Semibold" panose="020B0502040204020203" pitchFamily="34" charset="0"/>
            </a:endParaRPr>
          </a:p>
        </p:txBody>
      </p:sp>
      <p:sp>
        <p:nvSpPr>
          <p:cNvPr id="7" name="Zástupný symbol pro číslo snímku 2">
            <a:extLst>
              <a:ext uri="{FF2B5EF4-FFF2-40B4-BE49-F238E27FC236}">
                <a16:creationId xmlns:a16="http://schemas.microsoft.com/office/drawing/2014/main" id="{FDA5B81D-1B02-4057-BAA7-A25B1EDCBA5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40000" y="6552000"/>
            <a:ext cx="4320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900">
                <a:solidFill>
                  <a:schemeClr val="tx1"/>
                </a:solidFill>
                <a:latin typeface="+mj-lt"/>
              </a:defRPr>
            </a:lvl1pPr>
          </a:lstStyle>
          <a:p>
            <a:fld id="{46545F21-C657-4764-B5B2-92A02BE34E1E}" type="slidenum">
              <a:rPr lang="cs-CZ" smtClean="0"/>
              <a:pPr/>
              <a:t>‹#›</a:t>
            </a:fld>
            <a:endParaRPr lang="cs-CZ">
              <a:latin typeface="+mj-lt"/>
            </a:endParaRPr>
          </a:p>
        </p:txBody>
      </p:sp>
      <p:sp>
        <p:nvSpPr>
          <p:cNvPr id="12" name="Zástupný text 3">
            <a:extLst>
              <a:ext uri="{FF2B5EF4-FFF2-40B4-BE49-F238E27FC236}">
                <a16:creationId xmlns:a16="http://schemas.microsoft.com/office/drawing/2014/main" id="{2A203902-EF16-4178-A716-A025A01BCF7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9416" y="3204000"/>
            <a:ext cx="5688384" cy="29700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800" u="sng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cs-CZ"/>
              <a:t>Vložte doplňkový nadpis</a:t>
            </a:r>
          </a:p>
        </p:txBody>
      </p:sp>
      <p:pic>
        <p:nvPicPr>
          <p:cNvPr id="14" name="Obrázek 13">
            <a:extLst>
              <a:ext uri="{FF2B5EF4-FFF2-40B4-BE49-F238E27FC236}">
                <a16:creationId xmlns:a16="http://schemas.microsoft.com/office/drawing/2014/main" id="{501EE8D8-FE98-4A48-848E-F0B931816C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28564"/>
          <a:stretch/>
        </p:blipFill>
        <p:spPr>
          <a:xfrm>
            <a:off x="7932013" y="900000"/>
            <a:ext cx="3852000" cy="5040000"/>
          </a:xfrm>
          <a:prstGeom prst="rect">
            <a:avLst/>
          </a:prstGeom>
        </p:spPr>
      </p:pic>
      <p:pic>
        <p:nvPicPr>
          <p:cNvPr id="10" name="Obrázek 9">
            <a:extLst>
              <a:ext uri="{FF2B5EF4-FFF2-40B4-BE49-F238E27FC236}">
                <a16:creationId xmlns:a16="http://schemas.microsoft.com/office/drawing/2014/main" id="{78942271-E342-4675-8F50-D11786F1AC3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07368" y="6551539"/>
            <a:ext cx="216000" cy="201888"/>
          </a:xfrm>
          <a:prstGeom prst="rect">
            <a:avLst/>
          </a:prstGeom>
        </p:spPr>
      </p:pic>
      <p:pic>
        <p:nvPicPr>
          <p:cNvPr id="3" name="Obrázek 2">
            <a:extLst>
              <a:ext uri="{FF2B5EF4-FFF2-40B4-BE49-F238E27FC236}">
                <a16:creationId xmlns:a16="http://schemas.microsoft.com/office/drawing/2014/main" id="{64E303AE-167A-4EF8-A636-4FA809DECD92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846080" y="804748"/>
            <a:ext cx="1080000" cy="3360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525602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ozložení 1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délník 1">
            <a:extLst>
              <a:ext uri="{FF2B5EF4-FFF2-40B4-BE49-F238E27FC236}">
                <a16:creationId xmlns:a16="http://schemas.microsoft.com/office/drawing/2014/main" id="{1B93E936-06F7-4ACF-BA3B-1B908FB0ED86}"/>
              </a:ext>
            </a:extLst>
          </p:cNvPr>
          <p:cNvSpPr/>
          <p:nvPr userDrawn="1"/>
        </p:nvSpPr>
        <p:spPr bwMode="gray">
          <a:xfrm>
            <a:off x="407988" y="413490"/>
            <a:ext cx="11376024" cy="6039698"/>
          </a:xfrm>
          <a:prstGeom prst="rect">
            <a:avLst/>
          </a:prstGeom>
          <a:solidFill>
            <a:schemeClr val="accent4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ctr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cs-CZ" sz="1400" dirty="0">
              <a:solidFill>
                <a:schemeClr val="bg1"/>
              </a:solidFill>
            </a:endParaRPr>
          </a:p>
        </p:txBody>
      </p:sp>
      <p:sp>
        <p:nvSpPr>
          <p:cNvPr id="6" name="Zástupný text 20">
            <a:extLst>
              <a:ext uri="{FF2B5EF4-FFF2-40B4-BE49-F238E27FC236}">
                <a16:creationId xmlns:a16="http://schemas.microsoft.com/office/drawing/2014/main" id="{DCF5FD02-CEE1-40FD-B5E3-6DCFC5EBE86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27800" y="3429000"/>
            <a:ext cx="4824784" cy="110799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cs-CZ"/>
              <a:t>Vložte nadpis. V rámci gridu lze kombinovat obrazovou a textovou část dle potřeby.</a:t>
            </a:r>
          </a:p>
        </p:txBody>
      </p:sp>
      <p:sp>
        <p:nvSpPr>
          <p:cNvPr id="8" name="Zástupný text 22">
            <a:extLst>
              <a:ext uri="{FF2B5EF4-FFF2-40B4-BE49-F238E27FC236}">
                <a16:creationId xmlns:a16="http://schemas.microsoft.com/office/drawing/2014/main" id="{6B27746C-BC23-4A36-AF1E-C046056125B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27800" y="4806146"/>
            <a:ext cx="4824413" cy="999118"/>
          </a:xfrm>
          <a:prstGeom prst="rect">
            <a:avLst/>
          </a:prstGeom>
        </p:spPr>
        <p:txBody>
          <a:bodyPr lIns="0" tIns="0" rIns="0" bIns="0" numCol="1" spcCol="360000">
            <a:noAutofit/>
          </a:bodyPr>
          <a:lstStyle>
            <a:lvl1pPr marL="0" indent="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None/>
              <a:defRPr sz="1400">
                <a:solidFill>
                  <a:schemeClr val="tx1"/>
                </a:solidFill>
              </a:defRPr>
            </a:lvl1pPr>
            <a:lvl2pPr marL="288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"/>
              <a:defRPr sz="1400">
                <a:solidFill>
                  <a:schemeClr val="tx1"/>
                </a:solidFill>
              </a:defRPr>
            </a:lvl2pPr>
            <a:lvl3pPr marL="576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>
                <a:solidFill>
                  <a:schemeClr val="tx1"/>
                </a:solidFill>
              </a:defRPr>
            </a:lvl3pPr>
            <a:lvl4pPr marL="576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400" b="0">
                <a:solidFill>
                  <a:schemeClr val="tx1"/>
                </a:solidFill>
              </a:defRPr>
            </a:lvl4pPr>
            <a:lvl5pPr marL="573750" indent="-28575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rvní úroveň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</p:txBody>
      </p:sp>
      <p:sp>
        <p:nvSpPr>
          <p:cNvPr id="12" name="Zástupný text 3">
            <a:extLst>
              <a:ext uri="{FF2B5EF4-FFF2-40B4-BE49-F238E27FC236}">
                <a16:creationId xmlns:a16="http://schemas.microsoft.com/office/drawing/2014/main" id="{703C8AFA-1D1D-4FEC-9D71-79A9874903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527800" y="5998568"/>
            <a:ext cx="4824413" cy="12311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800" u="none">
                <a:solidFill>
                  <a:schemeClr val="tx1"/>
                </a:solidFill>
                <a:latin typeface="+mn-lt"/>
                <a:cs typeface="Segoe UI" panose="020B0502040204020203" pitchFamily="34" charset="0"/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cs-CZ"/>
              <a:t>Popisky pod čarou Light 8</a:t>
            </a:r>
          </a:p>
        </p:txBody>
      </p:sp>
      <p:sp>
        <p:nvSpPr>
          <p:cNvPr id="16" name="Zástupný symbol pro číslo snímku 2">
            <a:extLst>
              <a:ext uri="{FF2B5EF4-FFF2-40B4-BE49-F238E27FC236}">
                <a16:creationId xmlns:a16="http://schemas.microsoft.com/office/drawing/2014/main" id="{B9E3D326-5370-4A92-A89B-E96221EB41A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40000" y="6551999"/>
            <a:ext cx="4320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900">
                <a:solidFill>
                  <a:schemeClr val="tx1"/>
                </a:solidFill>
                <a:latin typeface="+mj-lt"/>
              </a:defRPr>
            </a:lvl1pPr>
          </a:lstStyle>
          <a:p>
            <a:fld id="{46545F21-C657-4764-B5B2-92A02BE34E1E}" type="slidenum">
              <a:rPr lang="cs-CZ" smtClean="0"/>
              <a:pPr/>
              <a:t>‹#›</a:t>
            </a:fld>
            <a:endParaRPr lang="cs-CZ">
              <a:latin typeface="+mj-lt"/>
            </a:endParaRP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EF8C060C-46B7-4BF0-BF70-A2A8046939A1}"/>
              </a:ext>
            </a:extLst>
          </p:cNvPr>
          <p:cNvSpPr txBox="1"/>
          <p:nvPr userDrawn="1"/>
        </p:nvSpPr>
        <p:spPr>
          <a:xfrm>
            <a:off x="9864000" y="6593500"/>
            <a:ext cx="1129052" cy="138499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 algn="r"/>
            <a:r>
              <a:rPr lang="cs-CZ" sz="900" b="1">
                <a:solidFill>
                  <a:schemeClr val="tx1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gasnet.cz</a:t>
            </a:r>
            <a:endParaRPr lang="cs-CZ" sz="900" b="1" dirty="0">
              <a:solidFill>
                <a:schemeClr val="tx1"/>
              </a:solidFill>
              <a:latin typeface="Segoe UI Semibold" panose="020B0502040204020203" pitchFamily="34" charset="0"/>
              <a:cs typeface="Segoe UI Semibold" panose="020B0502040204020203" pitchFamily="34" charset="0"/>
            </a:endParaRPr>
          </a:p>
        </p:txBody>
      </p:sp>
      <p:sp>
        <p:nvSpPr>
          <p:cNvPr id="11" name="Zástupný obsah 19">
            <a:extLst>
              <a:ext uri="{FF2B5EF4-FFF2-40B4-BE49-F238E27FC236}">
                <a16:creationId xmlns:a16="http://schemas.microsoft.com/office/drawing/2014/main" id="{8BE413E0-000D-4D4C-90A2-9870CB89CED2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839787" y="836613"/>
            <a:ext cx="4824413" cy="482463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spcAft>
                <a:spcPts val="400"/>
              </a:spcAft>
              <a:buFontTx/>
              <a:buNone/>
              <a:defRPr sz="1400" b="0">
                <a:latin typeface="+mn-lt"/>
              </a:defRPr>
            </a:lvl1pPr>
            <a:lvl2pPr marL="288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400" b="0">
                <a:latin typeface="+mn-lt"/>
              </a:defRPr>
            </a:lvl2pPr>
            <a:lvl3pPr marL="288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 b="0">
                <a:latin typeface="+mn-lt"/>
              </a:defRPr>
            </a:lvl3pPr>
            <a:lvl4pPr marL="576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400" b="0">
                <a:latin typeface="+mn-lt"/>
              </a:defRPr>
            </a:lvl4pPr>
            <a:lvl5pPr marL="576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 b="0">
                <a:latin typeface="+mn-lt"/>
              </a:defRPr>
            </a:lvl5pPr>
          </a:lstStyle>
          <a:p>
            <a:pPr lvl="0"/>
            <a:r>
              <a:rPr lang="cs-CZ"/>
              <a:t>Tabulka, graf nebo obrázek</a:t>
            </a:r>
          </a:p>
        </p:txBody>
      </p:sp>
      <p:sp>
        <p:nvSpPr>
          <p:cNvPr id="13" name="Zástupný text 3">
            <a:extLst>
              <a:ext uri="{FF2B5EF4-FFF2-40B4-BE49-F238E27FC236}">
                <a16:creationId xmlns:a16="http://schemas.microsoft.com/office/drawing/2014/main" id="{FF798622-4BD8-4358-90B5-ABC8F29D34F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39788" y="5998172"/>
            <a:ext cx="4824413" cy="12311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800" u="none">
                <a:solidFill>
                  <a:schemeClr val="tx1"/>
                </a:solidFill>
                <a:latin typeface="+mn-lt"/>
                <a:cs typeface="Segoe UI" panose="020B0502040204020203" pitchFamily="34" charset="0"/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cs-CZ"/>
              <a:t>Popisky pod čarou Light 8</a:t>
            </a:r>
          </a:p>
        </p:txBody>
      </p:sp>
      <p:pic>
        <p:nvPicPr>
          <p:cNvPr id="15" name="Obrázek 14">
            <a:extLst>
              <a:ext uri="{FF2B5EF4-FFF2-40B4-BE49-F238E27FC236}">
                <a16:creationId xmlns:a16="http://schemas.microsoft.com/office/drawing/2014/main" id="{5DC4A335-7E33-4682-9568-9187A06AB33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07368" y="6551539"/>
            <a:ext cx="216000" cy="201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502684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ozložení 1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délník 1">
            <a:extLst>
              <a:ext uri="{FF2B5EF4-FFF2-40B4-BE49-F238E27FC236}">
                <a16:creationId xmlns:a16="http://schemas.microsoft.com/office/drawing/2014/main" id="{1B93E936-06F7-4ACF-BA3B-1B908FB0ED86}"/>
              </a:ext>
            </a:extLst>
          </p:cNvPr>
          <p:cNvSpPr/>
          <p:nvPr userDrawn="1"/>
        </p:nvSpPr>
        <p:spPr bwMode="gray">
          <a:xfrm>
            <a:off x="407988" y="413490"/>
            <a:ext cx="11376024" cy="6039698"/>
          </a:xfrm>
          <a:prstGeom prst="rect">
            <a:avLst/>
          </a:prstGeom>
          <a:solidFill>
            <a:schemeClr val="accent4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ctr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cs-CZ" sz="1400" dirty="0">
              <a:solidFill>
                <a:schemeClr val="bg1"/>
              </a:solidFill>
            </a:endParaRPr>
          </a:p>
        </p:txBody>
      </p:sp>
      <p:sp>
        <p:nvSpPr>
          <p:cNvPr id="12" name="Zástupný text 3">
            <a:extLst>
              <a:ext uri="{FF2B5EF4-FFF2-40B4-BE49-F238E27FC236}">
                <a16:creationId xmlns:a16="http://schemas.microsoft.com/office/drawing/2014/main" id="{703C8AFA-1D1D-4FEC-9D71-79A9874903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527800" y="5998172"/>
            <a:ext cx="4824413" cy="12311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800" u="none">
                <a:solidFill>
                  <a:schemeClr val="tx1"/>
                </a:solidFill>
                <a:latin typeface="+mn-lt"/>
                <a:cs typeface="Segoe UI" panose="020B0502040204020203" pitchFamily="34" charset="0"/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cs-CZ"/>
              <a:t>Popisky pod čarou Light 8</a:t>
            </a:r>
          </a:p>
        </p:txBody>
      </p:sp>
      <p:sp>
        <p:nvSpPr>
          <p:cNvPr id="16" name="Zástupný symbol pro číslo snímku 2">
            <a:extLst>
              <a:ext uri="{FF2B5EF4-FFF2-40B4-BE49-F238E27FC236}">
                <a16:creationId xmlns:a16="http://schemas.microsoft.com/office/drawing/2014/main" id="{B9E3D326-5370-4A92-A89B-E96221EB41A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40000" y="6551999"/>
            <a:ext cx="4320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900">
                <a:solidFill>
                  <a:schemeClr val="tx1"/>
                </a:solidFill>
                <a:latin typeface="+mj-lt"/>
              </a:defRPr>
            </a:lvl1pPr>
          </a:lstStyle>
          <a:p>
            <a:fld id="{46545F21-C657-4764-B5B2-92A02BE34E1E}" type="slidenum">
              <a:rPr lang="cs-CZ" smtClean="0"/>
              <a:pPr/>
              <a:t>‹#›</a:t>
            </a:fld>
            <a:endParaRPr lang="cs-CZ">
              <a:latin typeface="+mj-lt"/>
            </a:endParaRP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EF8C060C-46B7-4BF0-BF70-A2A8046939A1}"/>
              </a:ext>
            </a:extLst>
          </p:cNvPr>
          <p:cNvSpPr txBox="1"/>
          <p:nvPr userDrawn="1"/>
        </p:nvSpPr>
        <p:spPr>
          <a:xfrm>
            <a:off x="9864000" y="6593500"/>
            <a:ext cx="1129052" cy="138499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 algn="r"/>
            <a:r>
              <a:rPr lang="cs-CZ" sz="900" b="1">
                <a:solidFill>
                  <a:schemeClr val="tx1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gasnet.cz</a:t>
            </a:r>
            <a:endParaRPr lang="cs-CZ" sz="900" b="1" dirty="0">
              <a:solidFill>
                <a:schemeClr val="tx1"/>
              </a:solidFill>
              <a:latin typeface="Segoe UI Semibold" panose="020B0502040204020203" pitchFamily="34" charset="0"/>
              <a:cs typeface="Segoe UI Semibold" panose="020B0502040204020203" pitchFamily="34" charset="0"/>
            </a:endParaRPr>
          </a:p>
        </p:txBody>
      </p:sp>
      <p:sp>
        <p:nvSpPr>
          <p:cNvPr id="19" name="Zástupný obsah 19">
            <a:extLst>
              <a:ext uri="{FF2B5EF4-FFF2-40B4-BE49-F238E27FC236}">
                <a16:creationId xmlns:a16="http://schemas.microsoft.com/office/drawing/2014/main" id="{86281210-545F-4DEE-950B-74CBDC3BCB53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839787" y="836613"/>
            <a:ext cx="4824413" cy="4824635"/>
          </a:xfrm>
          <a:prstGeom prst="rect">
            <a:avLst/>
          </a:prstGeom>
          <a:noFill/>
        </p:spPr>
        <p:txBody>
          <a:bodyPr lIns="0" tIns="0" rIns="0" bIns="0"/>
          <a:lstStyle>
            <a:lvl1pPr marL="0" indent="0">
              <a:spcBef>
                <a:spcPts val="0"/>
              </a:spcBef>
              <a:spcAft>
                <a:spcPts val="400"/>
              </a:spcAft>
              <a:buFontTx/>
              <a:buNone/>
              <a:defRPr sz="1400" b="0">
                <a:latin typeface="+mn-lt"/>
              </a:defRPr>
            </a:lvl1pPr>
            <a:lvl2pPr marL="288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400" b="0">
                <a:latin typeface="+mn-lt"/>
              </a:defRPr>
            </a:lvl2pPr>
            <a:lvl3pPr marL="288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 b="0">
                <a:latin typeface="+mn-lt"/>
              </a:defRPr>
            </a:lvl3pPr>
            <a:lvl4pPr marL="576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400" b="0">
                <a:latin typeface="+mn-lt"/>
              </a:defRPr>
            </a:lvl4pPr>
            <a:lvl5pPr marL="576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 b="0">
                <a:latin typeface="+mn-lt"/>
              </a:defRPr>
            </a:lvl5pPr>
          </a:lstStyle>
          <a:p>
            <a:pPr lvl="0"/>
            <a:r>
              <a:rPr lang="cs-CZ"/>
              <a:t>Tabulka, graf nebo obrázek</a:t>
            </a:r>
          </a:p>
        </p:txBody>
      </p:sp>
      <p:sp>
        <p:nvSpPr>
          <p:cNvPr id="13" name="Zástupný obsah 19">
            <a:extLst>
              <a:ext uri="{FF2B5EF4-FFF2-40B4-BE49-F238E27FC236}">
                <a16:creationId xmlns:a16="http://schemas.microsoft.com/office/drawing/2014/main" id="{7EEB8F2B-2A89-4BC9-8E81-BB7BBDD09A31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534696" y="836613"/>
            <a:ext cx="4824413" cy="482463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spcAft>
                <a:spcPts val="400"/>
              </a:spcAft>
              <a:buFontTx/>
              <a:buNone/>
              <a:defRPr sz="1400" b="0">
                <a:latin typeface="+mn-lt"/>
              </a:defRPr>
            </a:lvl1pPr>
            <a:lvl2pPr marL="288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400" b="0">
                <a:latin typeface="+mn-lt"/>
              </a:defRPr>
            </a:lvl2pPr>
            <a:lvl3pPr marL="288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 b="0">
                <a:latin typeface="+mn-lt"/>
              </a:defRPr>
            </a:lvl3pPr>
            <a:lvl4pPr marL="576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400" b="0">
                <a:latin typeface="+mn-lt"/>
              </a:defRPr>
            </a:lvl4pPr>
            <a:lvl5pPr marL="576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 b="0">
                <a:latin typeface="+mn-lt"/>
              </a:defRPr>
            </a:lvl5pPr>
          </a:lstStyle>
          <a:p>
            <a:pPr lvl="0"/>
            <a:r>
              <a:rPr lang="cs-CZ"/>
              <a:t>Tabulka, graf nebo obrázek</a:t>
            </a:r>
          </a:p>
        </p:txBody>
      </p:sp>
      <p:sp>
        <p:nvSpPr>
          <p:cNvPr id="15" name="Zástupný text 3">
            <a:extLst>
              <a:ext uri="{FF2B5EF4-FFF2-40B4-BE49-F238E27FC236}">
                <a16:creationId xmlns:a16="http://schemas.microsoft.com/office/drawing/2014/main" id="{8B43D75E-E09F-4D43-9D38-90B647E9210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39788" y="5998172"/>
            <a:ext cx="4824413" cy="12311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800" u="none">
                <a:solidFill>
                  <a:schemeClr val="tx1"/>
                </a:solidFill>
                <a:latin typeface="+mn-lt"/>
                <a:cs typeface="Segoe UI" panose="020B0502040204020203" pitchFamily="34" charset="0"/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cs-CZ"/>
              <a:t>Popisky pod čarou Light 8</a:t>
            </a:r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51EC4AE6-8786-4EC7-939D-49886CEAF8D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07368" y="6551539"/>
            <a:ext cx="216000" cy="201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410620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ozložení 1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délník 6">
            <a:extLst>
              <a:ext uri="{FF2B5EF4-FFF2-40B4-BE49-F238E27FC236}">
                <a16:creationId xmlns:a16="http://schemas.microsoft.com/office/drawing/2014/main" id="{4BD3748A-B85A-4E25-9C4F-B801C8408BE8}"/>
              </a:ext>
            </a:extLst>
          </p:cNvPr>
          <p:cNvSpPr/>
          <p:nvPr userDrawn="1"/>
        </p:nvSpPr>
        <p:spPr bwMode="gray">
          <a:xfrm>
            <a:off x="407988" y="404664"/>
            <a:ext cx="11376024" cy="6039698"/>
          </a:xfrm>
          <a:prstGeom prst="rect">
            <a:avLst/>
          </a:prstGeom>
          <a:solidFill>
            <a:schemeClr val="tx2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ctr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cs-CZ" sz="1400" dirty="0">
              <a:solidFill>
                <a:schemeClr val="bg1"/>
              </a:solidFill>
            </a:endParaRPr>
          </a:p>
        </p:txBody>
      </p:sp>
      <p:sp>
        <p:nvSpPr>
          <p:cNvPr id="9" name="Zástupný symbol pro číslo snímku 2">
            <a:extLst>
              <a:ext uri="{FF2B5EF4-FFF2-40B4-BE49-F238E27FC236}">
                <a16:creationId xmlns:a16="http://schemas.microsoft.com/office/drawing/2014/main" id="{2C389A1A-04C6-477D-8A58-483ECD73BAF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40000" y="6551999"/>
            <a:ext cx="4320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900">
                <a:solidFill>
                  <a:schemeClr val="tx1"/>
                </a:solidFill>
                <a:latin typeface="+mj-lt"/>
              </a:defRPr>
            </a:lvl1pPr>
          </a:lstStyle>
          <a:p>
            <a:fld id="{46545F21-C657-4764-B5B2-92A02BE34E1E}" type="slidenum">
              <a:rPr lang="cs-CZ" smtClean="0"/>
              <a:pPr/>
              <a:t>‹#›</a:t>
            </a:fld>
            <a:endParaRPr lang="cs-CZ">
              <a:latin typeface="+mj-lt"/>
            </a:endParaRP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013B3BA4-D21D-4EC9-B535-7A8438A5CE22}"/>
              </a:ext>
            </a:extLst>
          </p:cNvPr>
          <p:cNvSpPr txBox="1"/>
          <p:nvPr userDrawn="1"/>
        </p:nvSpPr>
        <p:spPr>
          <a:xfrm>
            <a:off x="9864000" y="6593500"/>
            <a:ext cx="1129052" cy="138499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 algn="r"/>
            <a:r>
              <a:rPr lang="cs-CZ" sz="900" b="1">
                <a:solidFill>
                  <a:schemeClr val="tx1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gasnet.cz</a:t>
            </a:r>
            <a:endParaRPr lang="cs-CZ" sz="900" b="1" dirty="0">
              <a:solidFill>
                <a:schemeClr val="tx1"/>
              </a:solidFill>
              <a:latin typeface="Segoe UI Semibold" panose="020B0502040204020203" pitchFamily="34" charset="0"/>
              <a:cs typeface="Segoe UI Semibold" panose="020B0502040204020203" pitchFamily="34" charset="0"/>
            </a:endParaRPr>
          </a:p>
        </p:txBody>
      </p:sp>
      <p:sp>
        <p:nvSpPr>
          <p:cNvPr id="4" name="Zástupný text 20">
            <a:extLst>
              <a:ext uri="{FF2B5EF4-FFF2-40B4-BE49-F238E27FC236}">
                <a16:creationId xmlns:a16="http://schemas.microsoft.com/office/drawing/2014/main" id="{A96159FE-F217-4291-8343-E0256C0818A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39416" y="764704"/>
            <a:ext cx="10500584" cy="93610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cs-CZ"/>
              <a:t>Menší nadpis SemiBold 24</a:t>
            </a:r>
          </a:p>
          <a:p>
            <a:r>
              <a:rPr lang="cs-CZ"/>
              <a:t>pro 2 menší články</a:t>
            </a:r>
            <a:endParaRPr lang="cs-CZ" dirty="0"/>
          </a:p>
        </p:txBody>
      </p:sp>
      <p:sp>
        <p:nvSpPr>
          <p:cNvPr id="11" name="Zástupný text 3">
            <a:extLst>
              <a:ext uri="{FF2B5EF4-FFF2-40B4-BE49-F238E27FC236}">
                <a16:creationId xmlns:a16="http://schemas.microsoft.com/office/drawing/2014/main" id="{C47712B0-775B-4CD1-9380-61868AFF4E5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9416" y="1808444"/>
            <a:ext cx="4838608" cy="68445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800" u="sng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cs-CZ"/>
              <a:t>Doplňkový titulek </a:t>
            </a:r>
            <a:br>
              <a:rPr lang="cs-CZ"/>
            </a:br>
            <a:r>
              <a:rPr lang="cs-CZ"/>
              <a:t>Regular 18 Underlined</a:t>
            </a:r>
          </a:p>
        </p:txBody>
      </p:sp>
      <p:sp>
        <p:nvSpPr>
          <p:cNvPr id="12" name="Zástupný text 3">
            <a:extLst>
              <a:ext uri="{FF2B5EF4-FFF2-40B4-BE49-F238E27FC236}">
                <a16:creationId xmlns:a16="http://schemas.microsoft.com/office/drawing/2014/main" id="{A8DBAFB5-AF1A-48E9-A51F-9E8D8B091F5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526842" y="1808444"/>
            <a:ext cx="4825371" cy="68445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800" u="sng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cs-CZ"/>
              <a:t>Doplňkový titulek </a:t>
            </a:r>
            <a:br>
              <a:rPr lang="cs-CZ"/>
            </a:br>
            <a:r>
              <a:rPr lang="cs-CZ"/>
              <a:t>Regular 18 Underlined</a:t>
            </a:r>
          </a:p>
        </p:txBody>
      </p:sp>
      <p:sp>
        <p:nvSpPr>
          <p:cNvPr id="14" name="Zástupný text 22">
            <a:extLst>
              <a:ext uri="{FF2B5EF4-FFF2-40B4-BE49-F238E27FC236}">
                <a16:creationId xmlns:a16="http://schemas.microsoft.com/office/drawing/2014/main" id="{0BF1CB9B-213E-4F82-8E29-283AF2AF17B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40592" y="4862043"/>
            <a:ext cx="4824413" cy="1208326"/>
          </a:xfrm>
          <a:prstGeom prst="rect">
            <a:avLst/>
          </a:prstGeom>
          <a:solidFill>
            <a:schemeClr val="bg1"/>
          </a:solidFill>
        </p:spPr>
        <p:txBody>
          <a:bodyPr lIns="360000" tIns="288000" rIns="360000" bIns="360000">
            <a:spAutoFit/>
          </a:bodyPr>
          <a:lstStyle>
            <a:lvl1pPr marL="0" indent="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None/>
              <a:defRPr sz="1800">
                <a:solidFill>
                  <a:schemeClr val="tx2"/>
                </a:solidFill>
              </a:defRPr>
            </a:lvl1pPr>
            <a:lvl2pPr marL="288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"/>
              <a:defRPr sz="1800">
                <a:solidFill>
                  <a:schemeClr val="tx2"/>
                </a:solidFill>
              </a:defRPr>
            </a:lvl2pPr>
            <a:lvl3pPr marL="288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800">
                <a:solidFill>
                  <a:schemeClr val="tx2"/>
                </a:solidFill>
              </a:defRPr>
            </a:lvl3pPr>
            <a:lvl4pPr marL="576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800" b="0">
                <a:solidFill>
                  <a:schemeClr val="tx2"/>
                </a:solidFill>
              </a:defRPr>
            </a:lvl4pPr>
            <a:lvl5pPr marL="576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cs-CZ"/>
              <a:t>Tento rámeček má variabilní velikost </a:t>
            </a:r>
            <a:br>
              <a:rPr lang="cs-CZ"/>
            </a:br>
            <a:r>
              <a:rPr lang="cs-CZ"/>
              <a:t>a slouží ke zvýraznění informace v textu.</a:t>
            </a:r>
          </a:p>
        </p:txBody>
      </p:sp>
      <p:sp>
        <p:nvSpPr>
          <p:cNvPr id="15" name="Zástupný obsah 19">
            <a:extLst>
              <a:ext uri="{FF2B5EF4-FFF2-40B4-BE49-F238E27FC236}">
                <a16:creationId xmlns:a16="http://schemas.microsoft.com/office/drawing/2014/main" id="{9ECE7A57-33C1-444E-A0B9-6259C3C9971F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827575" y="2734119"/>
            <a:ext cx="4850449" cy="184700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spcAft>
                <a:spcPts val="400"/>
              </a:spcAft>
              <a:buFontTx/>
              <a:buNone/>
              <a:defRPr sz="1400" b="0">
                <a:solidFill>
                  <a:schemeClr val="bg1"/>
                </a:solidFill>
                <a:latin typeface="+mn-lt"/>
              </a:defRPr>
            </a:lvl1pPr>
            <a:lvl2pPr marL="288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400" b="0">
                <a:solidFill>
                  <a:schemeClr val="bg1"/>
                </a:solidFill>
                <a:latin typeface="+mn-lt"/>
              </a:defRPr>
            </a:lvl2pPr>
            <a:lvl3pPr marL="576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 b="0">
                <a:solidFill>
                  <a:schemeClr val="bg1"/>
                </a:solidFill>
                <a:latin typeface="+mn-lt"/>
              </a:defRPr>
            </a:lvl3pPr>
            <a:lvl4pPr marL="576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400" b="0">
                <a:solidFill>
                  <a:schemeClr val="bg1"/>
                </a:solidFill>
                <a:latin typeface="+mn-lt"/>
              </a:defRPr>
            </a:lvl4pPr>
            <a:lvl5pPr marL="576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 b="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cs-CZ"/>
              <a:t>První úroveň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</p:txBody>
      </p:sp>
      <p:sp>
        <p:nvSpPr>
          <p:cNvPr id="16" name="Zástupný obsah 19">
            <a:extLst>
              <a:ext uri="{FF2B5EF4-FFF2-40B4-BE49-F238E27FC236}">
                <a16:creationId xmlns:a16="http://schemas.microsoft.com/office/drawing/2014/main" id="{AB36D1A6-1A2B-4528-BEDA-2D75AD22C719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6527800" y="2734119"/>
            <a:ext cx="4824413" cy="335870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spcAft>
                <a:spcPts val="400"/>
              </a:spcAft>
              <a:buFontTx/>
              <a:buNone/>
              <a:defRPr sz="1400" b="0">
                <a:solidFill>
                  <a:schemeClr val="bg1"/>
                </a:solidFill>
                <a:latin typeface="+mn-lt"/>
              </a:defRPr>
            </a:lvl1pPr>
            <a:lvl2pPr marL="288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400" b="0">
                <a:solidFill>
                  <a:schemeClr val="bg1"/>
                </a:solidFill>
                <a:latin typeface="+mn-lt"/>
              </a:defRPr>
            </a:lvl2pPr>
            <a:lvl3pPr marL="576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 b="0">
                <a:solidFill>
                  <a:schemeClr val="bg1"/>
                </a:solidFill>
                <a:latin typeface="+mn-lt"/>
              </a:defRPr>
            </a:lvl3pPr>
            <a:lvl4pPr marL="576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400" b="0">
                <a:solidFill>
                  <a:schemeClr val="bg1"/>
                </a:solidFill>
                <a:latin typeface="+mn-lt"/>
              </a:defRPr>
            </a:lvl4pPr>
            <a:lvl5pPr marL="576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 b="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cs-CZ"/>
              <a:t>První úroveň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9559F5D1-D692-4511-9974-E24EDC8F2BE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07368" y="6551539"/>
            <a:ext cx="216000" cy="201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486934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screen fotka 0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Zástupný symbol pro číslo snímku 2">
            <a:extLst>
              <a:ext uri="{FF2B5EF4-FFF2-40B4-BE49-F238E27FC236}">
                <a16:creationId xmlns:a16="http://schemas.microsoft.com/office/drawing/2014/main" id="{2C389A1A-04C6-477D-8A58-483ECD73BAF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40000" y="6551999"/>
            <a:ext cx="4320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900">
                <a:solidFill>
                  <a:schemeClr val="tx1"/>
                </a:solidFill>
                <a:latin typeface="+mj-lt"/>
              </a:defRPr>
            </a:lvl1pPr>
          </a:lstStyle>
          <a:p>
            <a:fld id="{46545F21-C657-4764-B5B2-92A02BE34E1E}" type="slidenum">
              <a:rPr lang="cs-CZ" smtClean="0"/>
              <a:pPr/>
              <a:t>‹#›</a:t>
            </a:fld>
            <a:endParaRPr lang="cs-CZ">
              <a:latin typeface="+mj-lt"/>
            </a:endParaRP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013B3BA4-D21D-4EC9-B535-7A8438A5CE22}"/>
              </a:ext>
            </a:extLst>
          </p:cNvPr>
          <p:cNvSpPr txBox="1"/>
          <p:nvPr userDrawn="1"/>
        </p:nvSpPr>
        <p:spPr>
          <a:xfrm>
            <a:off x="9864000" y="6593500"/>
            <a:ext cx="1129052" cy="138499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 algn="r"/>
            <a:r>
              <a:rPr lang="cs-CZ" sz="900" b="1">
                <a:solidFill>
                  <a:schemeClr val="tx1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gasnet.cz</a:t>
            </a:r>
            <a:endParaRPr lang="cs-CZ" sz="900" b="1" dirty="0">
              <a:solidFill>
                <a:schemeClr val="tx1"/>
              </a:solidFill>
              <a:latin typeface="Segoe UI Semibold" panose="020B0502040204020203" pitchFamily="34" charset="0"/>
              <a:cs typeface="Segoe UI Semibold" panose="020B0502040204020203" pitchFamily="34" charset="0"/>
            </a:endParaRPr>
          </a:p>
        </p:txBody>
      </p:sp>
      <p:sp>
        <p:nvSpPr>
          <p:cNvPr id="5" name="Zástupný symbol obrázku 4">
            <a:extLst>
              <a:ext uri="{FF2B5EF4-FFF2-40B4-BE49-F238E27FC236}">
                <a16:creationId xmlns:a16="http://schemas.microsoft.com/office/drawing/2014/main" id="{B70AC5EC-C60A-4F9C-91D4-C580B039A27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07988" y="404813"/>
            <a:ext cx="11376025" cy="6048375"/>
          </a:xfrm>
          <a:prstGeom prst="rect">
            <a:avLst/>
          </a:prstGeom>
          <a:noFill/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r>
              <a:rPr lang="cs-CZ"/>
              <a:t>Obrázek</a:t>
            </a:r>
          </a:p>
        </p:txBody>
      </p:sp>
      <p:sp>
        <p:nvSpPr>
          <p:cNvPr id="11" name="Zástupný text 22">
            <a:extLst>
              <a:ext uri="{FF2B5EF4-FFF2-40B4-BE49-F238E27FC236}">
                <a16:creationId xmlns:a16="http://schemas.microsoft.com/office/drawing/2014/main" id="{D1F3C852-C77D-4156-8DD7-2FC7EC803DD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51987" y="4104798"/>
            <a:ext cx="5688013" cy="1988027"/>
          </a:xfrm>
          <a:prstGeom prst="rect">
            <a:avLst/>
          </a:prstGeom>
          <a:solidFill>
            <a:schemeClr val="bg1"/>
          </a:solidFill>
        </p:spPr>
        <p:txBody>
          <a:bodyPr lIns="360000" tIns="288000" rIns="360000" bIns="360000" numCol="1" spcCol="360000" anchor="b" anchorCtr="0">
            <a:spAutoFit/>
          </a:bodyPr>
          <a:lstStyle>
            <a:lvl1pPr marL="0" indent="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None/>
              <a:defRPr sz="240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400"/>
              </a:spcAft>
              <a:buFontTx/>
              <a:buNone/>
              <a:defRPr sz="1800" u="sng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0" indent="0">
              <a:spcBef>
                <a:spcPts val="0"/>
              </a:spcBef>
              <a:spcAft>
                <a:spcPts val="400"/>
              </a:spcAft>
              <a:buFontTx/>
              <a:buNone/>
              <a:defRPr sz="1400">
                <a:solidFill>
                  <a:schemeClr val="tx1"/>
                </a:solidFill>
              </a:defRPr>
            </a:lvl3pPr>
            <a:lvl4pPr marL="288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400" b="0">
                <a:solidFill>
                  <a:schemeClr val="tx1"/>
                </a:solidFill>
              </a:defRPr>
            </a:lvl4pPr>
            <a:lvl5pPr marL="288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>
                <a:solidFill>
                  <a:schemeClr val="tx1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cs-CZ"/>
              <a:t>Na barevnou fotografii lze umístit černý text do bílého rámečk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</p:txBody>
      </p:sp>
      <p:pic>
        <p:nvPicPr>
          <p:cNvPr id="7" name="Obrázek 6">
            <a:extLst>
              <a:ext uri="{FF2B5EF4-FFF2-40B4-BE49-F238E27FC236}">
                <a16:creationId xmlns:a16="http://schemas.microsoft.com/office/drawing/2014/main" id="{E323B01C-1E56-41A7-A12B-34FE813BE6D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07368" y="6551539"/>
            <a:ext cx="216000" cy="201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88733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screen fotka 0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Zástupný symbol pro číslo snímku 2">
            <a:extLst>
              <a:ext uri="{FF2B5EF4-FFF2-40B4-BE49-F238E27FC236}">
                <a16:creationId xmlns:a16="http://schemas.microsoft.com/office/drawing/2014/main" id="{2C389A1A-04C6-477D-8A58-483ECD73BAF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40000" y="6551999"/>
            <a:ext cx="4320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900">
                <a:solidFill>
                  <a:schemeClr val="tx1"/>
                </a:solidFill>
                <a:latin typeface="+mj-lt"/>
              </a:defRPr>
            </a:lvl1pPr>
          </a:lstStyle>
          <a:p>
            <a:fld id="{46545F21-C657-4764-B5B2-92A02BE34E1E}" type="slidenum">
              <a:rPr lang="cs-CZ" smtClean="0"/>
              <a:pPr/>
              <a:t>‹#›</a:t>
            </a:fld>
            <a:endParaRPr lang="cs-CZ">
              <a:latin typeface="+mj-lt"/>
            </a:endParaRP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013B3BA4-D21D-4EC9-B535-7A8438A5CE22}"/>
              </a:ext>
            </a:extLst>
          </p:cNvPr>
          <p:cNvSpPr txBox="1"/>
          <p:nvPr userDrawn="1"/>
        </p:nvSpPr>
        <p:spPr>
          <a:xfrm>
            <a:off x="9864000" y="6593500"/>
            <a:ext cx="1129052" cy="138499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 algn="r"/>
            <a:r>
              <a:rPr lang="cs-CZ" sz="900" b="1">
                <a:solidFill>
                  <a:schemeClr val="tx1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gasnet.cz</a:t>
            </a:r>
            <a:endParaRPr lang="cs-CZ" sz="900" b="1" dirty="0">
              <a:solidFill>
                <a:schemeClr val="tx1"/>
              </a:solidFill>
              <a:latin typeface="Segoe UI Semibold" panose="020B0502040204020203" pitchFamily="34" charset="0"/>
              <a:cs typeface="Segoe UI Semibold" panose="020B0502040204020203" pitchFamily="34" charset="0"/>
            </a:endParaRPr>
          </a:p>
        </p:txBody>
      </p:sp>
      <p:sp>
        <p:nvSpPr>
          <p:cNvPr id="5" name="Zástupný symbol obrázku 4">
            <a:extLst>
              <a:ext uri="{FF2B5EF4-FFF2-40B4-BE49-F238E27FC236}">
                <a16:creationId xmlns:a16="http://schemas.microsoft.com/office/drawing/2014/main" id="{B70AC5EC-C60A-4F9C-91D4-C580B039A27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07988" y="404813"/>
            <a:ext cx="11376025" cy="6048375"/>
          </a:xfrm>
          <a:prstGeom prst="rect">
            <a:avLst/>
          </a:prstGeom>
          <a:noFill/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r>
              <a:rPr lang="cs-CZ"/>
              <a:t>Obrázek</a:t>
            </a:r>
          </a:p>
        </p:txBody>
      </p:sp>
      <p:sp>
        <p:nvSpPr>
          <p:cNvPr id="7" name="Zástupný text 22">
            <a:extLst>
              <a:ext uri="{FF2B5EF4-FFF2-40B4-BE49-F238E27FC236}">
                <a16:creationId xmlns:a16="http://schemas.microsoft.com/office/drawing/2014/main" id="{4BC4EE89-5124-4552-9A19-DDEF804B466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27800" y="4289464"/>
            <a:ext cx="4824413" cy="1803361"/>
          </a:xfrm>
          <a:prstGeom prst="rect">
            <a:avLst/>
          </a:prstGeom>
          <a:solidFill>
            <a:schemeClr val="bg1"/>
          </a:solidFill>
        </p:spPr>
        <p:txBody>
          <a:bodyPr lIns="360000" tIns="288000" rIns="360000" bIns="360000" numCol="1" spcCol="360000" anchor="b" anchorCtr="0">
            <a:spAutoFit/>
          </a:bodyPr>
          <a:lstStyle>
            <a:lvl1pPr marL="0" indent="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None/>
              <a:defRPr sz="360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400"/>
              </a:spcAft>
              <a:buFontTx/>
              <a:buNone/>
              <a:defRPr sz="1800" u="sng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0" indent="0">
              <a:spcBef>
                <a:spcPts val="0"/>
              </a:spcBef>
              <a:spcAft>
                <a:spcPts val="400"/>
              </a:spcAft>
              <a:buFontTx/>
              <a:buNone/>
              <a:defRPr sz="1400">
                <a:solidFill>
                  <a:schemeClr val="tx1"/>
                </a:solidFill>
              </a:defRPr>
            </a:lvl3pPr>
            <a:lvl4pPr marL="288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400" b="0">
                <a:solidFill>
                  <a:schemeClr val="tx1"/>
                </a:solidFill>
              </a:defRPr>
            </a:lvl4pPr>
            <a:lvl5pPr marL="288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rvní úroveň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</p:txBody>
      </p:sp>
      <p:pic>
        <p:nvPicPr>
          <p:cNvPr id="11" name="Obrázek 10">
            <a:extLst>
              <a:ext uri="{FF2B5EF4-FFF2-40B4-BE49-F238E27FC236}">
                <a16:creationId xmlns:a16="http://schemas.microsoft.com/office/drawing/2014/main" id="{2BC607F9-4D1C-45D4-813F-A1046D5D82C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07368" y="6551539"/>
            <a:ext cx="216000" cy="201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010389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screen fotka 0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Zástupný symbol pro číslo snímku 2">
            <a:extLst>
              <a:ext uri="{FF2B5EF4-FFF2-40B4-BE49-F238E27FC236}">
                <a16:creationId xmlns:a16="http://schemas.microsoft.com/office/drawing/2014/main" id="{2C389A1A-04C6-477D-8A58-483ECD73BAF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40000" y="6551999"/>
            <a:ext cx="4320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900">
                <a:solidFill>
                  <a:schemeClr val="tx1"/>
                </a:solidFill>
                <a:latin typeface="+mj-lt"/>
              </a:defRPr>
            </a:lvl1pPr>
          </a:lstStyle>
          <a:p>
            <a:fld id="{46545F21-C657-4764-B5B2-92A02BE34E1E}" type="slidenum">
              <a:rPr lang="cs-CZ" smtClean="0"/>
              <a:pPr/>
              <a:t>‹#›</a:t>
            </a:fld>
            <a:endParaRPr lang="cs-CZ">
              <a:latin typeface="+mj-lt"/>
            </a:endParaRP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013B3BA4-D21D-4EC9-B535-7A8438A5CE22}"/>
              </a:ext>
            </a:extLst>
          </p:cNvPr>
          <p:cNvSpPr txBox="1"/>
          <p:nvPr userDrawn="1"/>
        </p:nvSpPr>
        <p:spPr>
          <a:xfrm>
            <a:off x="9864000" y="6593500"/>
            <a:ext cx="1129052" cy="138499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 algn="r"/>
            <a:r>
              <a:rPr lang="cs-CZ" sz="900" b="1">
                <a:solidFill>
                  <a:schemeClr val="tx1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gasnet.cz</a:t>
            </a:r>
            <a:endParaRPr lang="cs-CZ" sz="900" b="1" dirty="0">
              <a:solidFill>
                <a:schemeClr val="tx1"/>
              </a:solidFill>
              <a:latin typeface="Segoe UI Semibold" panose="020B0502040204020203" pitchFamily="34" charset="0"/>
              <a:cs typeface="Segoe UI Semibold" panose="020B0502040204020203" pitchFamily="34" charset="0"/>
            </a:endParaRPr>
          </a:p>
        </p:txBody>
      </p:sp>
      <p:sp>
        <p:nvSpPr>
          <p:cNvPr id="5" name="Zástupný symbol obrázku 4">
            <a:extLst>
              <a:ext uri="{FF2B5EF4-FFF2-40B4-BE49-F238E27FC236}">
                <a16:creationId xmlns:a16="http://schemas.microsoft.com/office/drawing/2014/main" id="{B70AC5EC-C60A-4F9C-91D4-C580B039A27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07988" y="404813"/>
            <a:ext cx="11376025" cy="6048375"/>
          </a:xfrm>
          <a:prstGeom prst="rect">
            <a:avLst/>
          </a:prstGeom>
          <a:noFill/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r>
              <a:rPr lang="cs-CZ"/>
              <a:t>Obrázek</a:t>
            </a:r>
          </a:p>
        </p:txBody>
      </p:sp>
      <p:sp>
        <p:nvSpPr>
          <p:cNvPr id="7" name="Zástupný text 22">
            <a:extLst>
              <a:ext uri="{FF2B5EF4-FFF2-40B4-BE49-F238E27FC236}">
                <a16:creationId xmlns:a16="http://schemas.microsoft.com/office/drawing/2014/main" id="{0D624964-2A7E-4AF8-ABB0-A1776C99668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9788" y="4272344"/>
            <a:ext cx="4824413" cy="1803361"/>
          </a:xfrm>
          <a:prstGeom prst="rect">
            <a:avLst/>
          </a:prstGeom>
          <a:solidFill>
            <a:schemeClr val="bg1"/>
          </a:solidFill>
        </p:spPr>
        <p:txBody>
          <a:bodyPr lIns="360000" tIns="288000" rIns="360000" bIns="360000" numCol="1" spcCol="360000" anchor="b" anchorCtr="0">
            <a:spAutoFit/>
          </a:bodyPr>
          <a:lstStyle>
            <a:lvl1pPr marL="0" indent="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None/>
              <a:defRPr sz="360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400"/>
              </a:spcAft>
              <a:buFontTx/>
              <a:buNone/>
              <a:defRPr sz="1800" u="sng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0" indent="0">
              <a:spcBef>
                <a:spcPts val="0"/>
              </a:spcBef>
              <a:spcAft>
                <a:spcPts val="400"/>
              </a:spcAft>
              <a:buFontTx/>
              <a:buNone/>
              <a:defRPr sz="1400">
                <a:solidFill>
                  <a:schemeClr val="tx1"/>
                </a:solidFill>
              </a:defRPr>
            </a:lvl3pPr>
            <a:lvl4pPr marL="288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400" b="0">
                <a:solidFill>
                  <a:schemeClr val="tx1"/>
                </a:solidFill>
              </a:defRPr>
            </a:lvl4pPr>
            <a:lvl5pPr marL="288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cs-CZ"/>
              <a:t>První úroveň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</p:txBody>
      </p:sp>
      <p:pic>
        <p:nvPicPr>
          <p:cNvPr id="11" name="Obrázek 10">
            <a:extLst>
              <a:ext uri="{FF2B5EF4-FFF2-40B4-BE49-F238E27FC236}">
                <a16:creationId xmlns:a16="http://schemas.microsoft.com/office/drawing/2014/main" id="{30F6B5D9-B1B3-4074-A7D7-A8E628355B2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07368" y="6551539"/>
            <a:ext cx="216000" cy="201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008590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screen fotka 0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Zástupný symbol pro číslo snímku 2">
            <a:extLst>
              <a:ext uri="{FF2B5EF4-FFF2-40B4-BE49-F238E27FC236}">
                <a16:creationId xmlns:a16="http://schemas.microsoft.com/office/drawing/2014/main" id="{2C389A1A-04C6-477D-8A58-483ECD73BAF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40000" y="6551999"/>
            <a:ext cx="4320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900">
                <a:solidFill>
                  <a:schemeClr val="tx1"/>
                </a:solidFill>
                <a:latin typeface="+mj-lt"/>
              </a:defRPr>
            </a:lvl1pPr>
          </a:lstStyle>
          <a:p>
            <a:fld id="{46545F21-C657-4764-B5B2-92A02BE34E1E}" type="slidenum">
              <a:rPr lang="cs-CZ" smtClean="0"/>
              <a:pPr/>
              <a:t>‹#›</a:t>
            </a:fld>
            <a:endParaRPr lang="cs-CZ">
              <a:latin typeface="+mj-lt"/>
            </a:endParaRP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013B3BA4-D21D-4EC9-B535-7A8438A5CE22}"/>
              </a:ext>
            </a:extLst>
          </p:cNvPr>
          <p:cNvSpPr txBox="1"/>
          <p:nvPr userDrawn="1"/>
        </p:nvSpPr>
        <p:spPr>
          <a:xfrm>
            <a:off x="9864000" y="6593500"/>
            <a:ext cx="1129052" cy="138499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 algn="r"/>
            <a:r>
              <a:rPr lang="cs-CZ" sz="900" b="1">
                <a:solidFill>
                  <a:schemeClr val="tx1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gasnet.cz</a:t>
            </a:r>
            <a:endParaRPr lang="cs-CZ" sz="900" b="1" dirty="0">
              <a:solidFill>
                <a:schemeClr val="tx1"/>
              </a:solidFill>
              <a:latin typeface="Segoe UI Semibold" panose="020B0502040204020203" pitchFamily="34" charset="0"/>
              <a:cs typeface="Segoe UI Semibold" panose="020B0502040204020203" pitchFamily="34" charset="0"/>
            </a:endParaRPr>
          </a:p>
        </p:txBody>
      </p:sp>
      <p:sp>
        <p:nvSpPr>
          <p:cNvPr id="5" name="Zástupný symbol obrázku 4">
            <a:extLst>
              <a:ext uri="{FF2B5EF4-FFF2-40B4-BE49-F238E27FC236}">
                <a16:creationId xmlns:a16="http://schemas.microsoft.com/office/drawing/2014/main" id="{B70AC5EC-C60A-4F9C-91D4-C580B039A27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07988" y="414142"/>
            <a:ext cx="11376025" cy="6048375"/>
          </a:xfrm>
          <a:prstGeom prst="rect">
            <a:avLst/>
          </a:prstGeom>
          <a:noFill/>
        </p:spPr>
        <p:txBody>
          <a:bodyPr lIns="0" tIns="0" rIns="0" bIns="0"/>
          <a:lstStyle>
            <a:lvl1pPr marL="0" indent="0">
              <a:buNone/>
              <a:defRPr/>
            </a:lvl1pPr>
          </a:lstStyle>
          <a:p>
            <a:r>
              <a:rPr lang="cs-CZ"/>
              <a:t>Obrázek</a:t>
            </a:r>
          </a:p>
        </p:txBody>
      </p:sp>
      <p:sp>
        <p:nvSpPr>
          <p:cNvPr id="7" name="Zástupný text 22">
            <a:extLst>
              <a:ext uri="{FF2B5EF4-FFF2-40B4-BE49-F238E27FC236}">
                <a16:creationId xmlns:a16="http://schemas.microsoft.com/office/drawing/2014/main" id="{C0469D13-74C8-4114-87AC-FBD18EC0943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64200" y="3181469"/>
            <a:ext cx="5688013" cy="2911356"/>
          </a:xfrm>
          <a:prstGeom prst="rect">
            <a:avLst/>
          </a:prstGeom>
          <a:solidFill>
            <a:schemeClr val="tx2"/>
          </a:solidFill>
        </p:spPr>
        <p:txBody>
          <a:bodyPr lIns="360000" tIns="288000" rIns="360000" bIns="360000" numCol="1" spcCol="360000" anchor="b" anchorCtr="0">
            <a:spAutoFit/>
          </a:bodyPr>
          <a:lstStyle>
            <a:lvl1pPr marL="0" indent="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None/>
              <a:defRPr sz="3600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400"/>
              </a:spcAft>
              <a:buFontTx/>
              <a:buNone/>
              <a:defRPr sz="1800" u="sng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0" indent="0">
              <a:spcBef>
                <a:spcPts val="0"/>
              </a:spcBef>
              <a:spcAft>
                <a:spcPts val="400"/>
              </a:spcAft>
              <a:buFontTx/>
              <a:buNone/>
              <a:defRPr sz="1400">
                <a:solidFill>
                  <a:schemeClr val="bg1"/>
                </a:solidFill>
              </a:defRPr>
            </a:lvl3pPr>
            <a:lvl4pPr marL="288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400" b="0">
                <a:solidFill>
                  <a:schemeClr val="bg1"/>
                </a:solidFill>
              </a:defRPr>
            </a:lvl4pPr>
            <a:lvl5pPr marL="288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>
                <a:solidFill>
                  <a:schemeClr val="bg1"/>
                </a:solidFill>
              </a:defRPr>
            </a:lvl5pPr>
          </a:lstStyle>
          <a:p>
            <a:r>
              <a:rPr lang="cs-CZ"/>
              <a:t>Na černobílou fotografii umístíme bílý text do zeleného pol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</p:txBody>
      </p:sp>
      <p:pic>
        <p:nvPicPr>
          <p:cNvPr id="11" name="Obrázek 10">
            <a:extLst>
              <a:ext uri="{FF2B5EF4-FFF2-40B4-BE49-F238E27FC236}">
                <a16:creationId xmlns:a16="http://schemas.microsoft.com/office/drawing/2014/main" id="{24AA69C7-B0CE-48DC-80B7-93D7517A6BC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07368" y="6551539"/>
            <a:ext cx="216000" cy="201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278795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ka 0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Obdélník 17">
            <a:extLst>
              <a:ext uri="{FF2B5EF4-FFF2-40B4-BE49-F238E27FC236}">
                <a16:creationId xmlns:a16="http://schemas.microsoft.com/office/drawing/2014/main" id="{B1F61385-5AF8-47BF-AF39-630AF14B73C7}"/>
              </a:ext>
            </a:extLst>
          </p:cNvPr>
          <p:cNvSpPr/>
          <p:nvPr userDrawn="1"/>
        </p:nvSpPr>
        <p:spPr bwMode="gray">
          <a:xfrm>
            <a:off x="407368" y="413490"/>
            <a:ext cx="11376024" cy="6039698"/>
          </a:xfrm>
          <a:prstGeom prst="rect">
            <a:avLst/>
          </a:prstGeom>
          <a:solidFill>
            <a:schemeClr val="accent4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ctr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cs-CZ" sz="1400" dirty="0">
              <a:solidFill>
                <a:schemeClr val="bg1"/>
              </a:solidFill>
            </a:endParaRPr>
          </a:p>
        </p:txBody>
      </p:sp>
      <p:sp>
        <p:nvSpPr>
          <p:cNvPr id="4" name="Nadpis 1">
            <a:extLst>
              <a:ext uri="{FF2B5EF4-FFF2-40B4-BE49-F238E27FC236}">
                <a16:creationId xmlns:a16="http://schemas.microsoft.com/office/drawing/2014/main" id="{5BF891F7-EBEB-4F8D-B98C-68464A1043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9416" y="3501008"/>
            <a:ext cx="5688384" cy="1512168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6500"/>
              </a:lnSpc>
              <a:defRPr sz="48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cs-CZ"/>
              <a:t>Vložte textový předěl</a:t>
            </a:r>
          </a:p>
        </p:txBody>
      </p:sp>
      <p:sp>
        <p:nvSpPr>
          <p:cNvPr id="5" name="TextovéPole 4">
            <a:extLst>
              <a:ext uri="{FF2B5EF4-FFF2-40B4-BE49-F238E27FC236}">
                <a16:creationId xmlns:a16="http://schemas.microsoft.com/office/drawing/2014/main" id="{AAC9DD1F-22CD-48CF-AEBA-93FE6D5939CC}"/>
              </a:ext>
            </a:extLst>
          </p:cNvPr>
          <p:cNvSpPr txBox="1"/>
          <p:nvPr userDrawn="1"/>
        </p:nvSpPr>
        <p:spPr>
          <a:xfrm>
            <a:off x="839416" y="6565642"/>
            <a:ext cx="6097604" cy="1384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cs-CZ" sz="900" b="1">
                <a:solidFill>
                  <a:schemeClr val="accent5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gasnet.cz | 555 90 10 10</a:t>
            </a:r>
            <a:endParaRPr lang="cs-CZ" sz="900" b="1" dirty="0">
              <a:solidFill>
                <a:schemeClr val="accent5"/>
              </a:solidFill>
              <a:latin typeface="Segoe UI Semibold" panose="020B0502040204020203" pitchFamily="34" charset="0"/>
              <a:cs typeface="Segoe UI Semibold" panose="020B0502040204020203" pitchFamily="34" charset="0"/>
            </a:endParaRPr>
          </a:p>
        </p:txBody>
      </p:sp>
      <p:sp>
        <p:nvSpPr>
          <p:cNvPr id="7" name="Zástupný symbol pro číslo snímku 2">
            <a:extLst>
              <a:ext uri="{FF2B5EF4-FFF2-40B4-BE49-F238E27FC236}">
                <a16:creationId xmlns:a16="http://schemas.microsoft.com/office/drawing/2014/main" id="{3A4A7B5E-A8B9-48A8-BD05-2A7C63E8BDC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40000" y="6552000"/>
            <a:ext cx="4320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900">
                <a:solidFill>
                  <a:schemeClr val="tx1"/>
                </a:solidFill>
                <a:latin typeface="+mj-lt"/>
              </a:defRPr>
            </a:lvl1pPr>
          </a:lstStyle>
          <a:p>
            <a:fld id="{46545F21-C657-4764-B5B2-92A02BE34E1E}" type="slidenum">
              <a:rPr lang="cs-CZ" smtClean="0"/>
              <a:pPr/>
              <a:t>‹#›</a:t>
            </a:fld>
            <a:endParaRPr lang="cs-CZ">
              <a:latin typeface="+mj-lt"/>
            </a:endParaRPr>
          </a:p>
        </p:txBody>
      </p:sp>
      <p:sp>
        <p:nvSpPr>
          <p:cNvPr id="9" name="Zástupný text 3">
            <a:extLst>
              <a:ext uri="{FF2B5EF4-FFF2-40B4-BE49-F238E27FC236}">
                <a16:creationId xmlns:a16="http://schemas.microsoft.com/office/drawing/2014/main" id="{2224B9D4-C510-4DF8-A253-7FF7B468D12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9416" y="3204000"/>
            <a:ext cx="5688384" cy="29700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800" u="sng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cs-CZ"/>
              <a:t>Vložte doplňkový nadpis</a:t>
            </a:r>
          </a:p>
        </p:txBody>
      </p:sp>
      <p:pic>
        <p:nvPicPr>
          <p:cNvPr id="14" name="Obrázek 13">
            <a:extLst>
              <a:ext uri="{FF2B5EF4-FFF2-40B4-BE49-F238E27FC236}">
                <a16:creationId xmlns:a16="http://schemas.microsoft.com/office/drawing/2014/main" id="{B3D5203F-CFA7-4271-A093-A6A67216099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29051"/>
          <a:stretch/>
        </p:blipFill>
        <p:spPr>
          <a:xfrm>
            <a:off x="7930800" y="900000"/>
            <a:ext cx="3852000" cy="5074539"/>
          </a:xfrm>
          <a:prstGeom prst="rect">
            <a:avLst/>
          </a:prstGeom>
        </p:spPr>
      </p:pic>
      <p:pic>
        <p:nvPicPr>
          <p:cNvPr id="10" name="Obrázek 9">
            <a:extLst>
              <a:ext uri="{FF2B5EF4-FFF2-40B4-BE49-F238E27FC236}">
                <a16:creationId xmlns:a16="http://schemas.microsoft.com/office/drawing/2014/main" id="{FCE69ADF-8562-4434-B98F-5AB4A0CD5AE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07368" y="6551539"/>
            <a:ext cx="216000" cy="201888"/>
          </a:xfrm>
          <a:prstGeom prst="rect">
            <a:avLst/>
          </a:prstGeom>
        </p:spPr>
      </p:pic>
      <p:pic>
        <p:nvPicPr>
          <p:cNvPr id="11" name="Obrázek 10">
            <a:extLst>
              <a:ext uri="{FF2B5EF4-FFF2-40B4-BE49-F238E27FC236}">
                <a16:creationId xmlns:a16="http://schemas.microsoft.com/office/drawing/2014/main" id="{A22D1519-BACD-4AAE-B060-A841EDD8317E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846080" y="804748"/>
            <a:ext cx="1080000" cy="336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44532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ka 0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4">
            <a:extLst>
              <a:ext uri="{FF2B5EF4-FFF2-40B4-BE49-F238E27FC236}">
                <a16:creationId xmlns:a16="http://schemas.microsoft.com/office/drawing/2014/main" id="{310DA1FB-0388-43D7-9936-874B30284EA1}"/>
              </a:ext>
            </a:extLst>
          </p:cNvPr>
          <p:cNvSpPr/>
          <p:nvPr userDrawn="1"/>
        </p:nvSpPr>
        <p:spPr bwMode="gray">
          <a:xfrm>
            <a:off x="407987" y="414000"/>
            <a:ext cx="3674277" cy="6039698"/>
          </a:xfrm>
          <a:prstGeom prst="rect">
            <a:avLst/>
          </a:prstGeom>
          <a:solidFill>
            <a:schemeClr val="tx2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ctr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cs-CZ" sz="1400" dirty="0">
              <a:solidFill>
                <a:schemeClr val="bg1"/>
              </a:solidFill>
            </a:endParaRPr>
          </a:p>
        </p:txBody>
      </p:sp>
      <p:sp>
        <p:nvSpPr>
          <p:cNvPr id="2" name="Obdélník 1">
            <a:extLst>
              <a:ext uri="{FF2B5EF4-FFF2-40B4-BE49-F238E27FC236}">
                <a16:creationId xmlns:a16="http://schemas.microsoft.com/office/drawing/2014/main" id="{1B93E936-06F7-4ACF-BA3B-1B908FB0ED86}"/>
              </a:ext>
            </a:extLst>
          </p:cNvPr>
          <p:cNvSpPr/>
          <p:nvPr userDrawn="1"/>
        </p:nvSpPr>
        <p:spPr bwMode="gray">
          <a:xfrm>
            <a:off x="4079776" y="413490"/>
            <a:ext cx="7704236" cy="6039698"/>
          </a:xfrm>
          <a:prstGeom prst="rect">
            <a:avLst/>
          </a:prstGeom>
          <a:solidFill>
            <a:schemeClr val="accent4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ctr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cs-CZ" sz="1400" dirty="0">
              <a:solidFill>
                <a:schemeClr val="bg1"/>
              </a:solidFill>
            </a:endParaRPr>
          </a:p>
        </p:txBody>
      </p:sp>
      <p:sp>
        <p:nvSpPr>
          <p:cNvPr id="5" name="Zástupný text 20">
            <a:extLst>
              <a:ext uri="{FF2B5EF4-FFF2-40B4-BE49-F238E27FC236}">
                <a16:creationId xmlns:a16="http://schemas.microsoft.com/office/drawing/2014/main" id="{F6C0F4D3-5EDB-419E-A8E6-1B447BF3FC6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09956" y="764768"/>
            <a:ext cx="6842257" cy="576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cs-CZ"/>
              <a:t>Titulek SemiBold 36</a:t>
            </a:r>
          </a:p>
        </p:txBody>
      </p:sp>
      <p:sp>
        <p:nvSpPr>
          <p:cNvPr id="16" name="Zástupný symbol pro číslo snímku 2">
            <a:extLst>
              <a:ext uri="{FF2B5EF4-FFF2-40B4-BE49-F238E27FC236}">
                <a16:creationId xmlns:a16="http://schemas.microsoft.com/office/drawing/2014/main" id="{B9E3D326-5370-4A92-A89B-E96221EB41A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40000" y="6551999"/>
            <a:ext cx="4320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900">
                <a:solidFill>
                  <a:schemeClr val="tx1"/>
                </a:solidFill>
                <a:latin typeface="+mj-lt"/>
              </a:defRPr>
            </a:lvl1pPr>
          </a:lstStyle>
          <a:p>
            <a:fld id="{46545F21-C657-4764-B5B2-92A02BE34E1E}" type="slidenum">
              <a:rPr lang="cs-CZ" smtClean="0"/>
              <a:pPr/>
              <a:t>‹#›</a:t>
            </a:fld>
            <a:endParaRPr lang="cs-CZ">
              <a:latin typeface="+mj-lt"/>
            </a:endParaRP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EF8C060C-46B7-4BF0-BF70-A2A8046939A1}"/>
              </a:ext>
            </a:extLst>
          </p:cNvPr>
          <p:cNvSpPr txBox="1"/>
          <p:nvPr userDrawn="1"/>
        </p:nvSpPr>
        <p:spPr>
          <a:xfrm>
            <a:off x="9864000" y="6593500"/>
            <a:ext cx="1129052" cy="138499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 algn="r"/>
            <a:r>
              <a:rPr lang="cs-CZ" sz="900" b="1">
                <a:solidFill>
                  <a:schemeClr val="tx1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gasnet.cz</a:t>
            </a:r>
            <a:endParaRPr lang="cs-CZ" sz="900" b="1" dirty="0">
              <a:solidFill>
                <a:schemeClr val="tx1"/>
              </a:solidFill>
              <a:latin typeface="Segoe UI Semibold" panose="020B0502040204020203" pitchFamily="34" charset="0"/>
              <a:cs typeface="Segoe UI Semibold" panose="020B0502040204020203" pitchFamily="34" charset="0"/>
            </a:endParaRPr>
          </a:p>
        </p:txBody>
      </p:sp>
      <p:sp>
        <p:nvSpPr>
          <p:cNvPr id="24" name="Zástupný text 3">
            <a:extLst>
              <a:ext uri="{FF2B5EF4-FFF2-40B4-BE49-F238E27FC236}">
                <a16:creationId xmlns:a16="http://schemas.microsoft.com/office/drawing/2014/main" id="{64F1152D-AFC3-4C42-AC4C-B328E16FEC6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14064" y="1692046"/>
            <a:ext cx="3163871" cy="360000"/>
          </a:xfrm>
          <a:prstGeom prst="rect">
            <a:avLst/>
          </a:prstGeom>
        </p:spPr>
        <p:txBody>
          <a:bodyPr lIns="0" tIns="0" rIns="0" bIns="0" numCol="1"/>
          <a:lstStyle>
            <a:lvl1pPr marL="0" indent="0">
              <a:spcBef>
                <a:spcPts val="0"/>
              </a:spcBef>
              <a:buNone/>
              <a:defRPr sz="1400" b="1" u="sng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cs-CZ"/>
              <a:t>Titulek Regular 14 Underlined, tučně</a:t>
            </a:r>
          </a:p>
        </p:txBody>
      </p:sp>
      <p:sp>
        <p:nvSpPr>
          <p:cNvPr id="25" name="Zástupný obsah 19">
            <a:extLst>
              <a:ext uri="{FF2B5EF4-FFF2-40B4-BE49-F238E27FC236}">
                <a16:creationId xmlns:a16="http://schemas.microsoft.com/office/drawing/2014/main" id="{1D6EB088-0185-4945-99A2-6CAD6F8DD9C2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4509956" y="2164340"/>
            <a:ext cx="3163871" cy="3928892"/>
          </a:xfrm>
          <a:prstGeom prst="rect">
            <a:avLst/>
          </a:prstGeom>
        </p:spPr>
        <p:txBody>
          <a:bodyPr lIns="0" tIns="0" rIns="0" bIns="0" numCol="1" spcCol="720000">
            <a:noAutofit/>
          </a:bodyPr>
          <a:lstStyle>
            <a:lvl1pPr marL="0" indent="0">
              <a:spcBef>
                <a:spcPts val="0"/>
              </a:spcBef>
              <a:spcAft>
                <a:spcPts val="400"/>
              </a:spcAft>
              <a:buFontTx/>
              <a:buNone/>
              <a:defRPr sz="1400" b="0">
                <a:latin typeface="+mn-lt"/>
              </a:defRPr>
            </a:lvl1pPr>
            <a:lvl2pPr marL="288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400" b="0">
                <a:latin typeface="+mn-lt"/>
              </a:defRPr>
            </a:lvl2pPr>
            <a:lvl3pPr marL="576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 b="0">
                <a:latin typeface="+mn-lt"/>
              </a:defRPr>
            </a:lvl3pPr>
            <a:lvl4pPr marL="576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400" b="0">
                <a:latin typeface="+mn-lt"/>
              </a:defRPr>
            </a:lvl4pPr>
            <a:lvl5pPr marL="576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 b="0">
                <a:latin typeface="+mn-lt"/>
              </a:defRPr>
            </a:lvl5pPr>
          </a:lstStyle>
          <a:p>
            <a:pPr lvl="0"/>
            <a:r>
              <a:rPr lang="cs-CZ"/>
              <a:t>První úroveň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</p:txBody>
      </p:sp>
      <p:sp>
        <p:nvSpPr>
          <p:cNvPr id="26" name="Zástupný text 3">
            <a:extLst>
              <a:ext uri="{FF2B5EF4-FFF2-40B4-BE49-F238E27FC236}">
                <a16:creationId xmlns:a16="http://schemas.microsoft.com/office/drawing/2014/main" id="{04BF35F7-D4B0-4F7C-B8B6-216C90A51DC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188342" y="1692046"/>
            <a:ext cx="3163871" cy="360000"/>
          </a:xfrm>
          <a:prstGeom prst="rect">
            <a:avLst/>
          </a:prstGeom>
        </p:spPr>
        <p:txBody>
          <a:bodyPr lIns="0" tIns="0" rIns="0" bIns="0" numCol="1"/>
          <a:lstStyle>
            <a:lvl1pPr marL="0" indent="0">
              <a:spcBef>
                <a:spcPts val="0"/>
              </a:spcBef>
              <a:buNone/>
              <a:defRPr sz="1400" b="1" u="sng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cs-CZ"/>
              <a:t>Titulek Regular 14 Underlined, tučně</a:t>
            </a:r>
          </a:p>
        </p:txBody>
      </p:sp>
      <p:sp>
        <p:nvSpPr>
          <p:cNvPr id="27" name="Zástupný obsah 19">
            <a:extLst>
              <a:ext uri="{FF2B5EF4-FFF2-40B4-BE49-F238E27FC236}">
                <a16:creationId xmlns:a16="http://schemas.microsoft.com/office/drawing/2014/main" id="{BE82FAFB-0342-4766-A16D-624FEB0DF08B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8184234" y="2164340"/>
            <a:ext cx="3163871" cy="3928892"/>
          </a:xfrm>
          <a:prstGeom prst="rect">
            <a:avLst/>
          </a:prstGeom>
        </p:spPr>
        <p:txBody>
          <a:bodyPr lIns="0" tIns="0" rIns="0" bIns="0" numCol="1" spcCol="720000">
            <a:noAutofit/>
          </a:bodyPr>
          <a:lstStyle>
            <a:lvl1pPr marL="0" indent="0">
              <a:spcBef>
                <a:spcPts val="0"/>
              </a:spcBef>
              <a:spcAft>
                <a:spcPts val="400"/>
              </a:spcAft>
              <a:buFontTx/>
              <a:buNone/>
              <a:defRPr sz="1400" b="0">
                <a:latin typeface="+mn-lt"/>
              </a:defRPr>
            </a:lvl1pPr>
            <a:lvl2pPr marL="288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400" b="0">
                <a:latin typeface="+mn-lt"/>
              </a:defRPr>
            </a:lvl2pPr>
            <a:lvl3pPr marL="576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 b="0">
                <a:latin typeface="+mn-lt"/>
              </a:defRPr>
            </a:lvl3pPr>
            <a:lvl4pPr marL="576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400" b="0">
                <a:latin typeface="+mn-lt"/>
              </a:defRPr>
            </a:lvl4pPr>
            <a:lvl5pPr marL="576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 b="0">
                <a:latin typeface="+mn-lt"/>
              </a:defRPr>
            </a:lvl5pPr>
          </a:lstStyle>
          <a:p>
            <a:pPr lvl="0"/>
            <a:r>
              <a:rPr lang="cs-CZ"/>
              <a:t>První úroveň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</p:txBody>
      </p:sp>
      <p:sp>
        <p:nvSpPr>
          <p:cNvPr id="13" name="Nadpis 1">
            <a:extLst>
              <a:ext uri="{FF2B5EF4-FFF2-40B4-BE49-F238E27FC236}">
                <a16:creationId xmlns:a16="http://schemas.microsoft.com/office/drawing/2014/main" id="{DFE6026A-FFC3-4049-8DDC-5F0822E27E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58469" y="1559603"/>
            <a:ext cx="2797485" cy="984885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lnSpc>
                <a:spcPct val="100000"/>
              </a:lnSpc>
              <a:defRPr sz="32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cs-CZ"/>
              <a:t>Vložte textový předěl</a:t>
            </a:r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166D2E02-F873-4F0D-A785-234D45F153E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07368" y="6551539"/>
            <a:ext cx="216000" cy="201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218994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ka 0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4">
            <a:extLst>
              <a:ext uri="{FF2B5EF4-FFF2-40B4-BE49-F238E27FC236}">
                <a16:creationId xmlns:a16="http://schemas.microsoft.com/office/drawing/2014/main" id="{310DA1FB-0388-43D7-9936-874B30284EA1}"/>
              </a:ext>
            </a:extLst>
          </p:cNvPr>
          <p:cNvSpPr/>
          <p:nvPr userDrawn="1"/>
        </p:nvSpPr>
        <p:spPr bwMode="gray">
          <a:xfrm>
            <a:off x="407987" y="414000"/>
            <a:ext cx="3674277" cy="6039698"/>
          </a:xfrm>
          <a:prstGeom prst="rect">
            <a:avLst/>
          </a:prstGeom>
          <a:solidFill>
            <a:schemeClr val="accent4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ctr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cs-CZ" sz="1400" dirty="0">
              <a:solidFill>
                <a:schemeClr val="bg1"/>
              </a:solidFill>
            </a:endParaRPr>
          </a:p>
        </p:txBody>
      </p:sp>
      <p:sp>
        <p:nvSpPr>
          <p:cNvPr id="2" name="Obdélník 1">
            <a:extLst>
              <a:ext uri="{FF2B5EF4-FFF2-40B4-BE49-F238E27FC236}">
                <a16:creationId xmlns:a16="http://schemas.microsoft.com/office/drawing/2014/main" id="{1B93E936-06F7-4ACF-BA3B-1B908FB0ED86}"/>
              </a:ext>
            </a:extLst>
          </p:cNvPr>
          <p:cNvSpPr/>
          <p:nvPr userDrawn="1"/>
        </p:nvSpPr>
        <p:spPr bwMode="gray">
          <a:xfrm>
            <a:off x="4079776" y="413490"/>
            <a:ext cx="7704236" cy="6039698"/>
          </a:xfrm>
          <a:prstGeom prst="rect">
            <a:avLst/>
          </a:prstGeom>
          <a:solidFill>
            <a:schemeClr val="tx2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ctr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cs-CZ" sz="1400" dirty="0">
              <a:solidFill>
                <a:schemeClr val="bg1"/>
              </a:solidFill>
            </a:endParaRPr>
          </a:p>
        </p:txBody>
      </p:sp>
      <p:sp>
        <p:nvSpPr>
          <p:cNvPr id="5" name="Zástupný text 20">
            <a:extLst>
              <a:ext uri="{FF2B5EF4-FFF2-40B4-BE49-F238E27FC236}">
                <a16:creationId xmlns:a16="http://schemas.microsoft.com/office/drawing/2014/main" id="{F6C0F4D3-5EDB-419E-A8E6-1B447BF3FC6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09956" y="764768"/>
            <a:ext cx="6842257" cy="576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cs-CZ"/>
              <a:t>Titulek SemiBold 36</a:t>
            </a:r>
          </a:p>
        </p:txBody>
      </p:sp>
      <p:sp>
        <p:nvSpPr>
          <p:cNvPr id="16" name="Zástupný symbol pro číslo snímku 2">
            <a:extLst>
              <a:ext uri="{FF2B5EF4-FFF2-40B4-BE49-F238E27FC236}">
                <a16:creationId xmlns:a16="http://schemas.microsoft.com/office/drawing/2014/main" id="{B9E3D326-5370-4A92-A89B-E96221EB41A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40000" y="6551999"/>
            <a:ext cx="4320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900">
                <a:solidFill>
                  <a:schemeClr val="tx1"/>
                </a:solidFill>
                <a:latin typeface="+mj-lt"/>
              </a:defRPr>
            </a:lvl1pPr>
          </a:lstStyle>
          <a:p>
            <a:fld id="{46545F21-C657-4764-B5B2-92A02BE34E1E}" type="slidenum">
              <a:rPr lang="cs-CZ" smtClean="0"/>
              <a:pPr/>
              <a:t>‹#›</a:t>
            </a:fld>
            <a:endParaRPr lang="cs-CZ">
              <a:latin typeface="+mj-lt"/>
            </a:endParaRP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EF8C060C-46B7-4BF0-BF70-A2A8046939A1}"/>
              </a:ext>
            </a:extLst>
          </p:cNvPr>
          <p:cNvSpPr txBox="1"/>
          <p:nvPr userDrawn="1"/>
        </p:nvSpPr>
        <p:spPr>
          <a:xfrm>
            <a:off x="9864000" y="6593500"/>
            <a:ext cx="1129052" cy="138499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 algn="r"/>
            <a:r>
              <a:rPr lang="cs-CZ" sz="900" b="1">
                <a:solidFill>
                  <a:schemeClr val="tx1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gasnet.cz</a:t>
            </a:r>
            <a:endParaRPr lang="cs-CZ" sz="900" b="1" dirty="0">
              <a:solidFill>
                <a:schemeClr val="tx1"/>
              </a:solidFill>
              <a:latin typeface="Segoe UI Semibold" panose="020B0502040204020203" pitchFamily="34" charset="0"/>
              <a:cs typeface="Segoe UI Semibold" panose="020B0502040204020203" pitchFamily="34" charset="0"/>
            </a:endParaRPr>
          </a:p>
        </p:txBody>
      </p:sp>
      <p:sp>
        <p:nvSpPr>
          <p:cNvPr id="24" name="Zástupný text 3">
            <a:extLst>
              <a:ext uri="{FF2B5EF4-FFF2-40B4-BE49-F238E27FC236}">
                <a16:creationId xmlns:a16="http://schemas.microsoft.com/office/drawing/2014/main" id="{64F1152D-AFC3-4C42-AC4C-B328E16FEC6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14064" y="1692046"/>
            <a:ext cx="3163871" cy="360000"/>
          </a:xfrm>
          <a:prstGeom prst="rect">
            <a:avLst/>
          </a:prstGeom>
        </p:spPr>
        <p:txBody>
          <a:bodyPr lIns="0" tIns="0" rIns="0" bIns="0" numCol="1"/>
          <a:lstStyle>
            <a:lvl1pPr marL="0" indent="0">
              <a:spcBef>
                <a:spcPts val="0"/>
              </a:spcBef>
              <a:buNone/>
              <a:defRPr sz="1400" b="1" u="sng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cs-CZ"/>
              <a:t>Titulek Regular 14 Underlined, tučně</a:t>
            </a:r>
          </a:p>
        </p:txBody>
      </p:sp>
      <p:sp>
        <p:nvSpPr>
          <p:cNvPr id="25" name="Zástupný obsah 19">
            <a:extLst>
              <a:ext uri="{FF2B5EF4-FFF2-40B4-BE49-F238E27FC236}">
                <a16:creationId xmlns:a16="http://schemas.microsoft.com/office/drawing/2014/main" id="{1D6EB088-0185-4945-99A2-6CAD6F8DD9C2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4509956" y="2164340"/>
            <a:ext cx="3163871" cy="3928892"/>
          </a:xfrm>
          <a:prstGeom prst="rect">
            <a:avLst/>
          </a:prstGeom>
        </p:spPr>
        <p:txBody>
          <a:bodyPr lIns="0" tIns="0" rIns="0" bIns="0" numCol="1" spcCol="720000">
            <a:noAutofit/>
          </a:bodyPr>
          <a:lstStyle>
            <a:lvl1pPr marL="0" indent="0">
              <a:spcBef>
                <a:spcPts val="0"/>
              </a:spcBef>
              <a:spcAft>
                <a:spcPts val="400"/>
              </a:spcAft>
              <a:buFontTx/>
              <a:buNone/>
              <a:defRPr sz="1400" b="0">
                <a:solidFill>
                  <a:schemeClr val="bg1"/>
                </a:solidFill>
                <a:latin typeface="+mn-lt"/>
              </a:defRPr>
            </a:lvl1pPr>
            <a:lvl2pPr marL="288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400" b="0">
                <a:solidFill>
                  <a:schemeClr val="bg1"/>
                </a:solidFill>
                <a:latin typeface="+mn-lt"/>
              </a:defRPr>
            </a:lvl2pPr>
            <a:lvl3pPr marL="576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 b="0">
                <a:solidFill>
                  <a:schemeClr val="bg1"/>
                </a:solidFill>
                <a:latin typeface="+mn-lt"/>
              </a:defRPr>
            </a:lvl3pPr>
            <a:lvl4pPr marL="576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400" b="0">
                <a:latin typeface="+mn-lt"/>
              </a:defRPr>
            </a:lvl4pPr>
            <a:lvl5pPr marL="576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 b="0">
                <a:latin typeface="+mn-lt"/>
              </a:defRPr>
            </a:lvl5pPr>
          </a:lstStyle>
          <a:p>
            <a:pPr lvl="0"/>
            <a:r>
              <a:rPr lang="cs-CZ"/>
              <a:t>První úroveň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</p:txBody>
      </p:sp>
      <p:sp>
        <p:nvSpPr>
          <p:cNvPr id="26" name="Zástupný text 3">
            <a:extLst>
              <a:ext uri="{FF2B5EF4-FFF2-40B4-BE49-F238E27FC236}">
                <a16:creationId xmlns:a16="http://schemas.microsoft.com/office/drawing/2014/main" id="{04BF35F7-D4B0-4F7C-B8B6-216C90A51DC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188342" y="1692046"/>
            <a:ext cx="3163871" cy="360000"/>
          </a:xfrm>
          <a:prstGeom prst="rect">
            <a:avLst/>
          </a:prstGeom>
        </p:spPr>
        <p:txBody>
          <a:bodyPr lIns="0" tIns="0" rIns="0" bIns="0" numCol="1"/>
          <a:lstStyle>
            <a:lvl1pPr marL="0" indent="0">
              <a:spcBef>
                <a:spcPts val="0"/>
              </a:spcBef>
              <a:buNone/>
              <a:defRPr sz="1400" b="1" u="sng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cs-CZ"/>
              <a:t>Titulek Regular 14 Underlined, tučně</a:t>
            </a:r>
          </a:p>
        </p:txBody>
      </p:sp>
      <p:sp>
        <p:nvSpPr>
          <p:cNvPr id="27" name="Zástupný obsah 19">
            <a:extLst>
              <a:ext uri="{FF2B5EF4-FFF2-40B4-BE49-F238E27FC236}">
                <a16:creationId xmlns:a16="http://schemas.microsoft.com/office/drawing/2014/main" id="{BE82FAFB-0342-4766-A16D-624FEB0DF08B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8184234" y="2164340"/>
            <a:ext cx="3163871" cy="3928892"/>
          </a:xfrm>
          <a:prstGeom prst="rect">
            <a:avLst/>
          </a:prstGeom>
        </p:spPr>
        <p:txBody>
          <a:bodyPr lIns="0" tIns="0" rIns="0" bIns="0" numCol="1" spcCol="720000">
            <a:noAutofit/>
          </a:bodyPr>
          <a:lstStyle>
            <a:lvl1pPr marL="0" indent="0">
              <a:spcBef>
                <a:spcPts val="0"/>
              </a:spcBef>
              <a:spcAft>
                <a:spcPts val="400"/>
              </a:spcAft>
              <a:buFontTx/>
              <a:buNone/>
              <a:defRPr sz="1400" b="0">
                <a:solidFill>
                  <a:schemeClr val="bg1"/>
                </a:solidFill>
                <a:latin typeface="+mn-lt"/>
              </a:defRPr>
            </a:lvl1pPr>
            <a:lvl2pPr marL="288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400" b="0">
                <a:solidFill>
                  <a:schemeClr val="bg1"/>
                </a:solidFill>
                <a:latin typeface="+mn-lt"/>
              </a:defRPr>
            </a:lvl2pPr>
            <a:lvl3pPr marL="576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 b="0">
                <a:solidFill>
                  <a:schemeClr val="bg1"/>
                </a:solidFill>
                <a:latin typeface="+mn-lt"/>
              </a:defRPr>
            </a:lvl3pPr>
            <a:lvl4pPr marL="576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400" b="0">
                <a:latin typeface="+mn-lt"/>
              </a:defRPr>
            </a:lvl4pPr>
            <a:lvl5pPr marL="576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 b="0">
                <a:latin typeface="+mn-lt"/>
              </a:defRPr>
            </a:lvl5pPr>
          </a:lstStyle>
          <a:p>
            <a:pPr lvl="0"/>
            <a:r>
              <a:rPr lang="cs-CZ"/>
              <a:t>První úroveň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</p:txBody>
      </p:sp>
      <p:sp>
        <p:nvSpPr>
          <p:cNvPr id="13" name="Nadpis 1">
            <a:extLst>
              <a:ext uri="{FF2B5EF4-FFF2-40B4-BE49-F238E27FC236}">
                <a16:creationId xmlns:a16="http://schemas.microsoft.com/office/drawing/2014/main" id="{DFE6026A-FFC3-4049-8DDC-5F0822E27E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58469" y="1559603"/>
            <a:ext cx="2797485" cy="984885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>
              <a:lnSpc>
                <a:spcPct val="100000"/>
              </a:lnSpc>
              <a:defRPr sz="32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cs-CZ"/>
              <a:t>Vložte textový předěl</a:t>
            </a:r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D2404C7-C453-4C9B-BB0D-9E99979BB0D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07368" y="6551539"/>
            <a:ext cx="216000" cy="201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369146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ozložení 0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délník 1">
            <a:extLst>
              <a:ext uri="{FF2B5EF4-FFF2-40B4-BE49-F238E27FC236}">
                <a16:creationId xmlns:a16="http://schemas.microsoft.com/office/drawing/2014/main" id="{1B93E936-06F7-4ACF-BA3B-1B908FB0ED86}"/>
              </a:ext>
            </a:extLst>
          </p:cNvPr>
          <p:cNvSpPr/>
          <p:nvPr userDrawn="1"/>
        </p:nvSpPr>
        <p:spPr bwMode="gray">
          <a:xfrm>
            <a:off x="407988" y="413490"/>
            <a:ext cx="11376024" cy="6039698"/>
          </a:xfrm>
          <a:prstGeom prst="rect">
            <a:avLst/>
          </a:prstGeom>
          <a:solidFill>
            <a:schemeClr val="accent4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ctr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cs-CZ" sz="1400" dirty="0">
              <a:solidFill>
                <a:schemeClr val="bg1"/>
              </a:solidFill>
            </a:endParaRPr>
          </a:p>
        </p:txBody>
      </p:sp>
      <p:sp>
        <p:nvSpPr>
          <p:cNvPr id="5" name="Zástupný text 20">
            <a:extLst>
              <a:ext uri="{FF2B5EF4-FFF2-40B4-BE49-F238E27FC236}">
                <a16:creationId xmlns:a16="http://schemas.microsoft.com/office/drawing/2014/main" id="{F6C0F4D3-5EDB-419E-A8E6-1B447BF3FC6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9416" y="764768"/>
            <a:ext cx="10512797" cy="576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cs-CZ"/>
              <a:t>Titulek SemiBold 36</a:t>
            </a:r>
          </a:p>
        </p:txBody>
      </p:sp>
      <p:sp>
        <p:nvSpPr>
          <p:cNvPr id="7" name="Zástupný text 3">
            <a:extLst>
              <a:ext uri="{FF2B5EF4-FFF2-40B4-BE49-F238E27FC236}">
                <a16:creationId xmlns:a16="http://schemas.microsoft.com/office/drawing/2014/main" id="{7995F1F8-0381-4379-8459-DA94E6060E2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43897" y="1692046"/>
            <a:ext cx="4820303" cy="36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800" u="sng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cs-CZ"/>
              <a:t>Doplňkový titulek Regular 18 Underlined</a:t>
            </a: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EF8C060C-46B7-4BF0-BF70-A2A8046939A1}"/>
              </a:ext>
            </a:extLst>
          </p:cNvPr>
          <p:cNvSpPr txBox="1"/>
          <p:nvPr userDrawn="1"/>
        </p:nvSpPr>
        <p:spPr>
          <a:xfrm>
            <a:off x="9864000" y="6593500"/>
            <a:ext cx="1129052" cy="138499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 algn="r"/>
            <a:r>
              <a:rPr lang="cs-CZ" sz="900" b="1">
                <a:solidFill>
                  <a:schemeClr val="tx1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gasnet.cz</a:t>
            </a:r>
            <a:endParaRPr lang="cs-CZ" sz="900" b="1" dirty="0">
              <a:solidFill>
                <a:schemeClr val="tx1"/>
              </a:solidFill>
              <a:latin typeface="Segoe UI Semibold" panose="020B0502040204020203" pitchFamily="34" charset="0"/>
              <a:cs typeface="Segoe UI Semibold" panose="020B0502040204020203" pitchFamily="34" charset="0"/>
            </a:endParaRPr>
          </a:p>
        </p:txBody>
      </p:sp>
      <p:sp>
        <p:nvSpPr>
          <p:cNvPr id="20" name="Zástupný obsah 19">
            <a:extLst>
              <a:ext uri="{FF2B5EF4-FFF2-40B4-BE49-F238E27FC236}">
                <a16:creationId xmlns:a16="http://schemas.microsoft.com/office/drawing/2014/main" id="{F9E27186-5C93-4137-BFBD-8A17A33683DB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839789" y="2264860"/>
            <a:ext cx="4824412" cy="3827965"/>
          </a:xfrm>
          <a:prstGeom prst="rect">
            <a:avLst/>
          </a:prstGeom>
        </p:spPr>
        <p:txBody>
          <a:bodyPr lIns="0" tIns="0" rIns="0" bIns="0" numCol="1" spcCol="720000">
            <a:noAutofit/>
          </a:bodyPr>
          <a:lstStyle>
            <a:lvl1pPr marL="0" indent="0">
              <a:spcBef>
                <a:spcPts val="0"/>
              </a:spcBef>
              <a:spcAft>
                <a:spcPts val="400"/>
              </a:spcAft>
              <a:buFontTx/>
              <a:buNone/>
              <a:defRPr sz="1400" b="0">
                <a:latin typeface="+mn-lt"/>
              </a:defRPr>
            </a:lvl1pPr>
            <a:lvl2pPr marL="288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400" b="0">
                <a:latin typeface="+mn-lt"/>
              </a:defRPr>
            </a:lvl2pPr>
            <a:lvl3pPr marL="576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 b="0">
                <a:latin typeface="+mn-lt"/>
              </a:defRPr>
            </a:lvl3pPr>
            <a:lvl4pPr marL="576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400" b="0">
                <a:latin typeface="+mn-lt"/>
              </a:defRPr>
            </a:lvl4pPr>
            <a:lvl5pPr marL="576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 b="0">
                <a:latin typeface="+mn-lt"/>
              </a:defRPr>
            </a:lvl5pPr>
          </a:lstStyle>
          <a:p>
            <a:pPr lvl="0"/>
            <a:r>
              <a:rPr lang="cs-CZ"/>
              <a:t>První úroveň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</p:txBody>
      </p:sp>
      <p:sp>
        <p:nvSpPr>
          <p:cNvPr id="13" name="Zástupný text 3">
            <a:extLst>
              <a:ext uri="{FF2B5EF4-FFF2-40B4-BE49-F238E27FC236}">
                <a16:creationId xmlns:a16="http://schemas.microsoft.com/office/drawing/2014/main" id="{D0CF5293-90F7-4AA4-944F-0EF59A744B1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31910" y="1692046"/>
            <a:ext cx="4820303" cy="36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800" u="sng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cs-CZ"/>
              <a:t>Doplňkový titulek Regular 18 Underlined</a:t>
            </a:r>
          </a:p>
        </p:txBody>
      </p:sp>
      <p:sp>
        <p:nvSpPr>
          <p:cNvPr id="15" name="Zástupný obsah 19">
            <a:extLst>
              <a:ext uri="{FF2B5EF4-FFF2-40B4-BE49-F238E27FC236}">
                <a16:creationId xmlns:a16="http://schemas.microsoft.com/office/drawing/2014/main" id="{C7C23A5C-AFE2-44B8-8B73-DAB454A07EE8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529855" y="2264860"/>
            <a:ext cx="4824412" cy="3827965"/>
          </a:xfrm>
          <a:prstGeom prst="rect">
            <a:avLst/>
          </a:prstGeom>
        </p:spPr>
        <p:txBody>
          <a:bodyPr lIns="0" tIns="0" rIns="0" bIns="0" numCol="1" spcCol="720000">
            <a:noAutofit/>
          </a:bodyPr>
          <a:lstStyle>
            <a:lvl1pPr marL="0" indent="0">
              <a:spcBef>
                <a:spcPts val="0"/>
              </a:spcBef>
              <a:spcAft>
                <a:spcPts val="400"/>
              </a:spcAft>
              <a:buFontTx/>
              <a:buNone/>
              <a:defRPr sz="1400" b="0">
                <a:latin typeface="+mn-lt"/>
              </a:defRPr>
            </a:lvl1pPr>
            <a:lvl2pPr marL="288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400" b="0">
                <a:latin typeface="+mn-lt"/>
              </a:defRPr>
            </a:lvl2pPr>
            <a:lvl3pPr marL="576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 b="0">
                <a:latin typeface="+mn-lt"/>
              </a:defRPr>
            </a:lvl3pPr>
            <a:lvl4pPr marL="576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400" b="0">
                <a:latin typeface="+mn-lt"/>
              </a:defRPr>
            </a:lvl4pPr>
            <a:lvl5pPr marL="576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 b="0">
                <a:latin typeface="+mn-lt"/>
              </a:defRPr>
            </a:lvl5pPr>
          </a:lstStyle>
          <a:p>
            <a:pPr lvl="0"/>
            <a:r>
              <a:rPr lang="cs-CZ"/>
              <a:t>První úroveň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</p:txBody>
      </p:sp>
      <p:sp>
        <p:nvSpPr>
          <p:cNvPr id="16" name="Zástupný symbol pro číslo snímku 2">
            <a:extLst>
              <a:ext uri="{FF2B5EF4-FFF2-40B4-BE49-F238E27FC236}">
                <a16:creationId xmlns:a16="http://schemas.microsoft.com/office/drawing/2014/main" id="{B9E3D326-5370-4A92-A89B-E96221EB41A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40000" y="6551999"/>
            <a:ext cx="4320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900">
                <a:solidFill>
                  <a:schemeClr val="tx1"/>
                </a:solidFill>
                <a:latin typeface="+mj-lt"/>
              </a:defRPr>
            </a:lvl1pPr>
          </a:lstStyle>
          <a:p>
            <a:fld id="{46545F21-C657-4764-B5B2-92A02BE34E1E}" type="slidenum">
              <a:rPr lang="cs-CZ" smtClean="0"/>
              <a:pPr/>
              <a:t>‹#›</a:t>
            </a:fld>
            <a:endParaRPr lang="cs-CZ">
              <a:latin typeface="+mj-lt"/>
            </a:endParaRPr>
          </a:p>
        </p:txBody>
      </p:sp>
      <p:pic>
        <p:nvPicPr>
          <p:cNvPr id="11" name="Obrázek 10">
            <a:extLst>
              <a:ext uri="{FF2B5EF4-FFF2-40B4-BE49-F238E27FC236}">
                <a16:creationId xmlns:a16="http://schemas.microsoft.com/office/drawing/2014/main" id="{352D08E3-DEF8-4FBB-A3A2-99556534F26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07368" y="6551539"/>
            <a:ext cx="216000" cy="201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18726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ozložení 0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délník 1">
            <a:extLst>
              <a:ext uri="{FF2B5EF4-FFF2-40B4-BE49-F238E27FC236}">
                <a16:creationId xmlns:a16="http://schemas.microsoft.com/office/drawing/2014/main" id="{1B93E936-06F7-4ACF-BA3B-1B908FB0ED86}"/>
              </a:ext>
            </a:extLst>
          </p:cNvPr>
          <p:cNvSpPr/>
          <p:nvPr userDrawn="1"/>
        </p:nvSpPr>
        <p:spPr bwMode="gray">
          <a:xfrm>
            <a:off x="407988" y="413490"/>
            <a:ext cx="11376024" cy="6039698"/>
          </a:xfrm>
          <a:prstGeom prst="rect">
            <a:avLst/>
          </a:prstGeom>
          <a:solidFill>
            <a:schemeClr val="accent4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ctr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cs-CZ" sz="1400" dirty="0">
              <a:solidFill>
                <a:schemeClr val="bg1"/>
              </a:solidFill>
            </a:endParaRPr>
          </a:p>
        </p:txBody>
      </p:sp>
      <p:sp>
        <p:nvSpPr>
          <p:cNvPr id="5" name="Zástupný text 20">
            <a:extLst>
              <a:ext uri="{FF2B5EF4-FFF2-40B4-BE49-F238E27FC236}">
                <a16:creationId xmlns:a16="http://schemas.microsoft.com/office/drawing/2014/main" id="{F6C0F4D3-5EDB-419E-A8E6-1B447BF3FC6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9416" y="764768"/>
            <a:ext cx="10512797" cy="576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cs-CZ"/>
              <a:t>Titulek SemiBold 36</a:t>
            </a:r>
          </a:p>
        </p:txBody>
      </p:sp>
      <p:sp>
        <p:nvSpPr>
          <p:cNvPr id="7" name="Zástupný text 3">
            <a:extLst>
              <a:ext uri="{FF2B5EF4-FFF2-40B4-BE49-F238E27FC236}">
                <a16:creationId xmlns:a16="http://schemas.microsoft.com/office/drawing/2014/main" id="{7995F1F8-0381-4379-8459-DA94E6060E2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43897" y="1692046"/>
            <a:ext cx="4820303" cy="36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800" u="sng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cs-CZ"/>
              <a:t>Doplňkový titulek Regular 18 Underlined</a:t>
            </a:r>
          </a:p>
        </p:txBody>
      </p:sp>
      <p:sp>
        <p:nvSpPr>
          <p:cNvPr id="16" name="Zástupný symbol pro číslo snímku 2">
            <a:extLst>
              <a:ext uri="{FF2B5EF4-FFF2-40B4-BE49-F238E27FC236}">
                <a16:creationId xmlns:a16="http://schemas.microsoft.com/office/drawing/2014/main" id="{B9E3D326-5370-4A92-A89B-E96221EB41A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40000" y="6551999"/>
            <a:ext cx="432000" cy="180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900">
                <a:solidFill>
                  <a:schemeClr val="tx1"/>
                </a:solidFill>
                <a:latin typeface="+mj-lt"/>
              </a:defRPr>
            </a:lvl1pPr>
          </a:lstStyle>
          <a:p>
            <a:fld id="{46545F21-C657-4764-B5B2-92A02BE34E1E}" type="slidenum">
              <a:rPr lang="cs-CZ" smtClean="0"/>
              <a:pPr/>
              <a:t>‹#›</a:t>
            </a:fld>
            <a:endParaRPr lang="cs-CZ">
              <a:latin typeface="+mj-lt"/>
            </a:endParaRP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EF8C060C-46B7-4BF0-BF70-A2A8046939A1}"/>
              </a:ext>
            </a:extLst>
          </p:cNvPr>
          <p:cNvSpPr txBox="1"/>
          <p:nvPr userDrawn="1"/>
        </p:nvSpPr>
        <p:spPr>
          <a:xfrm>
            <a:off x="9864000" y="6593500"/>
            <a:ext cx="1129052" cy="138499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 algn="r"/>
            <a:r>
              <a:rPr lang="cs-CZ" sz="900" b="1">
                <a:solidFill>
                  <a:schemeClr val="tx1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gasnet.cz</a:t>
            </a:r>
            <a:endParaRPr lang="cs-CZ" sz="900" b="1" dirty="0">
              <a:solidFill>
                <a:schemeClr val="tx1"/>
              </a:solidFill>
              <a:latin typeface="Segoe UI Semibold" panose="020B0502040204020203" pitchFamily="34" charset="0"/>
              <a:cs typeface="Segoe UI Semibold" panose="020B0502040204020203" pitchFamily="34" charset="0"/>
            </a:endParaRPr>
          </a:p>
        </p:txBody>
      </p:sp>
      <p:sp>
        <p:nvSpPr>
          <p:cNvPr id="20" name="Zástupný obsah 19">
            <a:extLst>
              <a:ext uri="{FF2B5EF4-FFF2-40B4-BE49-F238E27FC236}">
                <a16:creationId xmlns:a16="http://schemas.microsoft.com/office/drawing/2014/main" id="{F9E27186-5C93-4137-BFBD-8A17A33683DB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839789" y="2264860"/>
            <a:ext cx="4824412" cy="3827965"/>
          </a:xfrm>
          <a:prstGeom prst="rect">
            <a:avLst/>
          </a:prstGeom>
        </p:spPr>
        <p:txBody>
          <a:bodyPr lIns="0" tIns="0" rIns="0" bIns="0" numCol="1" spcCol="720000">
            <a:noAutofit/>
          </a:bodyPr>
          <a:lstStyle>
            <a:lvl1pPr marL="0" indent="0">
              <a:spcBef>
                <a:spcPts val="0"/>
              </a:spcBef>
              <a:spcAft>
                <a:spcPts val="400"/>
              </a:spcAft>
              <a:buFontTx/>
              <a:buNone/>
              <a:defRPr sz="1400" b="0">
                <a:latin typeface="+mn-lt"/>
              </a:defRPr>
            </a:lvl1pPr>
            <a:lvl2pPr marL="288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400" b="0">
                <a:latin typeface="+mn-lt"/>
              </a:defRPr>
            </a:lvl2pPr>
            <a:lvl3pPr marL="576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 b="0">
                <a:latin typeface="+mn-lt"/>
              </a:defRPr>
            </a:lvl3pPr>
            <a:lvl4pPr marL="576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400" b="0">
                <a:latin typeface="+mn-lt"/>
              </a:defRPr>
            </a:lvl4pPr>
            <a:lvl5pPr marL="576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 b="0">
                <a:latin typeface="+mn-lt"/>
              </a:defRPr>
            </a:lvl5pPr>
          </a:lstStyle>
          <a:p>
            <a:pPr lvl="0"/>
            <a:r>
              <a:rPr lang="cs-CZ"/>
              <a:t>První úroveň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</p:txBody>
      </p:sp>
      <p:sp>
        <p:nvSpPr>
          <p:cNvPr id="13" name="Zástupný text 3">
            <a:extLst>
              <a:ext uri="{FF2B5EF4-FFF2-40B4-BE49-F238E27FC236}">
                <a16:creationId xmlns:a16="http://schemas.microsoft.com/office/drawing/2014/main" id="{D0CF5293-90F7-4AA4-944F-0EF59A744B1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31910" y="1692046"/>
            <a:ext cx="4820303" cy="36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None/>
              <a:defRPr sz="1800" u="sng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sz="16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cs-CZ"/>
              <a:t>Doplňkový titulek Regular 18 Underlined</a:t>
            </a:r>
          </a:p>
        </p:txBody>
      </p:sp>
      <p:sp>
        <p:nvSpPr>
          <p:cNvPr id="15" name="Zástupný obsah 19">
            <a:extLst>
              <a:ext uri="{FF2B5EF4-FFF2-40B4-BE49-F238E27FC236}">
                <a16:creationId xmlns:a16="http://schemas.microsoft.com/office/drawing/2014/main" id="{C7C23A5C-AFE2-44B8-8B73-DAB454A07EE8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529855" y="4856677"/>
            <a:ext cx="4824412" cy="1236148"/>
          </a:xfrm>
          <a:prstGeom prst="rect">
            <a:avLst/>
          </a:prstGeom>
        </p:spPr>
        <p:txBody>
          <a:bodyPr lIns="0" tIns="0" rIns="0" bIns="0" numCol="1" spcCol="720000">
            <a:noAutofit/>
          </a:bodyPr>
          <a:lstStyle>
            <a:lvl1pPr marL="0" indent="0">
              <a:spcBef>
                <a:spcPts val="0"/>
              </a:spcBef>
              <a:spcAft>
                <a:spcPts val="400"/>
              </a:spcAft>
              <a:buFontTx/>
              <a:buNone/>
              <a:defRPr sz="1400" b="0">
                <a:latin typeface="+mn-lt"/>
              </a:defRPr>
            </a:lvl1pPr>
            <a:lvl2pPr marL="288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400" b="0">
                <a:latin typeface="+mn-lt"/>
              </a:defRPr>
            </a:lvl2pPr>
            <a:lvl3pPr marL="576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 b="0">
                <a:latin typeface="+mn-lt"/>
              </a:defRPr>
            </a:lvl3pPr>
            <a:lvl4pPr marL="576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400" b="0">
                <a:latin typeface="+mn-lt"/>
              </a:defRPr>
            </a:lvl4pPr>
            <a:lvl5pPr marL="576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 b="0">
                <a:latin typeface="+mn-lt"/>
              </a:defRPr>
            </a:lvl5pPr>
          </a:lstStyle>
          <a:p>
            <a:pPr lvl="0"/>
            <a:r>
              <a:rPr lang="cs-CZ"/>
              <a:t>První úroveň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</p:txBody>
      </p:sp>
      <p:sp>
        <p:nvSpPr>
          <p:cNvPr id="12" name="Zástupný obsah 19">
            <a:extLst>
              <a:ext uri="{FF2B5EF4-FFF2-40B4-BE49-F238E27FC236}">
                <a16:creationId xmlns:a16="http://schemas.microsoft.com/office/drawing/2014/main" id="{450B85BF-41CC-4F60-86B9-23AE19AE6829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524792" y="2264860"/>
            <a:ext cx="4824412" cy="2388276"/>
          </a:xfrm>
          <a:prstGeom prst="rect">
            <a:avLst/>
          </a:prstGeom>
        </p:spPr>
        <p:txBody>
          <a:bodyPr lIns="0" tIns="0" rIns="0" bIns="0" numCol="1" spcCol="720000">
            <a:noAutofit/>
          </a:bodyPr>
          <a:lstStyle>
            <a:lvl1pPr marL="0" indent="0">
              <a:spcBef>
                <a:spcPts val="0"/>
              </a:spcBef>
              <a:spcAft>
                <a:spcPts val="400"/>
              </a:spcAft>
              <a:buFontTx/>
              <a:buNone/>
              <a:defRPr sz="1400" b="0">
                <a:latin typeface="+mn-lt"/>
              </a:defRPr>
            </a:lvl1pPr>
            <a:lvl2pPr marL="288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400" b="0">
                <a:latin typeface="+mn-lt"/>
              </a:defRPr>
            </a:lvl2pPr>
            <a:lvl3pPr marL="576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 b="0">
                <a:latin typeface="+mn-lt"/>
              </a:defRPr>
            </a:lvl3pPr>
            <a:lvl4pPr marL="576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400" b="0">
                <a:latin typeface="+mn-lt"/>
              </a:defRPr>
            </a:lvl4pPr>
            <a:lvl5pPr marL="576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 b="0">
                <a:latin typeface="+mn-lt"/>
              </a:defRPr>
            </a:lvl5pPr>
          </a:lstStyle>
          <a:p>
            <a:pPr lvl="0"/>
            <a:r>
              <a:rPr lang="cs-CZ"/>
              <a:t>Obrázek nebo graf</a:t>
            </a:r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0932C0BE-0645-43EE-84BA-A59AD317155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07368" y="6551539"/>
            <a:ext cx="216000" cy="201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083286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28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tags" Target="../tags/tag3.x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2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slideLayout" Target="../slideLayouts/slideLayout42.xml"/><Relationship Id="rId18" Type="http://schemas.openxmlformats.org/officeDocument/2006/relationships/theme" Target="../theme/theme3.xml"/><Relationship Id="rId3" Type="http://schemas.openxmlformats.org/officeDocument/2006/relationships/slideLayout" Target="../slideLayouts/slideLayout32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1.xml"/><Relationship Id="rId17" Type="http://schemas.openxmlformats.org/officeDocument/2006/relationships/slideLayout" Target="../slideLayouts/slideLayout46.xml"/><Relationship Id="rId2" Type="http://schemas.openxmlformats.org/officeDocument/2006/relationships/slideLayout" Target="../slideLayouts/slideLayout31.xml"/><Relationship Id="rId16" Type="http://schemas.openxmlformats.org/officeDocument/2006/relationships/slideLayout" Target="../slideLayouts/slideLayout45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4.xml"/><Relationship Id="rId15" Type="http://schemas.openxmlformats.org/officeDocument/2006/relationships/slideLayout" Target="../slideLayouts/slideLayout44.xml"/><Relationship Id="rId10" Type="http://schemas.openxmlformats.org/officeDocument/2006/relationships/slideLayout" Target="../slideLayouts/slideLayout39.xml"/><Relationship Id="rId19" Type="http://schemas.openxmlformats.org/officeDocument/2006/relationships/tags" Target="../tags/tag4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slideLayout" Target="../slideLayouts/slideLayout4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1684069168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8" imgW="360" imgH="360" progId="">
                  <p:embed/>
                </p:oleObj>
              </mc:Choice>
              <mc:Fallback>
                <p:oleObj name="think-cell Folie" r:id="rId28" imgW="360" imgH="360" progId="">
                  <p:embed/>
                  <p:pic>
                    <p:nvPicPr>
                      <p:cNvPr id="13" name="Objek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7160467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43" r:id="rId6"/>
    <p:sldLayoutId id="2147483744" r:id="rId7"/>
    <p:sldLayoutId id="2147483663" r:id="rId8"/>
    <p:sldLayoutId id="2147483730" r:id="rId9"/>
    <p:sldLayoutId id="2147483731" r:id="rId10"/>
    <p:sldLayoutId id="2147483732" r:id="rId11"/>
    <p:sldLayoutId id="2147483733" r:id="rId12"/>
    <p:sldLayoutId id="2147483734" r:id="rId13"/>
    <p:sldLayoutId id="2147483735" r:id="rId14"/>
    <p:sldLayoutId id="2147483736" r:id="rId15"/>
    <p:sldLayoutId id="2147483716" r:id="rId16"/>
    <p:sldLayoutId id="2147483717" r:id="rId17"/>
    <p:sldLayoutId id="2147483740" r:id="rId18"/>
    <p:sldLayoutId id="2147483724" r:id="rId19"/>
    <p:sldLayoutId id="2147483725" r:id="rId20"/>
    <p:sldLayoutId id="2147483726" r:id="rId21"/>
    <p:sldLayoutId id="2147483727" r:id="rId22"/>
    <p:sldLayoutId id="2147483728" r:id="rId23"/>
    <p:sldLayoutId id="2147483729" r:id="rId24"/>
    <p:sldLayoutId id="2147483746" r:id="rId2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400"/>
        </a:spcAft>
        <a:buFont typeface="Arial" pitchFamily="34" charset="0"/>
        <a:buNone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324000" indent="-324000" algn="l" defTabSz="914400" rtl="0" eaLnBrk="1" latinLnBrk="0" hangingPunct="1">
        <a:spcBef>
          <a:spcPts val="0"/>
        </a:spcBef>
        <a:spcAft>
          <a:spcPts val="400"/>
        </a:spcAft>
        <a:buFont typeface="Wingdings" panose="05000000000000000000" pitchFamily="2" charset="2"/>
        <a:buChar char="l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24000" indent="-324000" algn="l" defTabSz="914400" rtl="0" eaLnBrk="1" latinLnBrk="0" hangingPunct="1">
        <a:spcBef>
          <a:spcPts val="0"/>
        </a:spcBef>
        <a:spcAft>
          <a:spcPts val="400"/>
        </a:spcAft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76000" indent="-288000" algn="l" defTabSz="914400" rtl="0" eaLnBrk="1" latinLnBrk="0" hangingPunct="1">
        <a:spcBef>
          <a:spcPts val="0"/>
        </a:spcBef>
        <a:spcAft>
          <a:spcPts val="400"/>
        </a:spcAft>
        <a:buFont typeface="Wingdings" panose="05000000000000000000" pitchFamily="2" charset="2"/>
        <a:buChar char="l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576000" indent="-288000" algn="l" defTabSz="914400" rtl="0" eaLnBrk="1" latinLnBrk="0" hangingPunct="1">
        <a:spcBef>
          <a:spcPts val="0"/>
        </a:spcBef>
        <a:spcAft>
          <a:spcPts val="400"/>
        </a:spcAft>
        <a:buFont typeface="Symbol" panose="05050102010706020507" pitchFamily="18" charset="2"/>
        <a:buChar char="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257" userDrawn="1">
          <p15:clr>
            <a:srgbClr val="F26B43"/>
          </p15:clr>
        </p15:guide>
        <p15:guide id="3" pos="7423" userDrawn="1">
          <p15:clr>
            <a:srgbClr val="F26B43"/>
          </p15:clr>
        </p15:guide>
        <p15:guide id="5" pos="3568" userDrawn="1">
          <p15:clr>
            <a:srgbClr val="9FCC3B"/>
          </p15:clr>
        </p15:guide>
        <p15:guide id="6" pos="3840" userDrawn="1">
          <p15:clr>
            <a:srgbClr val="A4A3A4"/>
          </p15:clr>
        </p15:guide>
        <p15:guide id="7" orient="horz" pos="255" userDrawn="1">
          <p15:clr>
            <a:srgbClr val="F26B43"/>
          </p15:clr>
        </p15:guide>
        <p15:guide id="8" pos="529" userDrawn="1">
          <p15:clr>
            <a:srgbClr val="9FCC3B"/>
          </p15:clr>
        </p15:guide>
        <p15:guide id="9" pos="4112" userDrawn="1">
          <p15:clr>
            <a:srgbClr val="9FCC3B"/>
          </p15:clr>
        </p15:guide>
        <p15:guide id="10" pos="7151" userDrawn="1">
          <p15:clr>
            <a:srgbClr val="9FCC3B"/>
          </p15:clr>
        </p15:guide>
        <p15:guide id="11" orient="horz" pos="2160" userDrawn="1">
          <p15:clr>
            <a:srgbClr val="A4A3A4"/>
          </p15:clr>
        </p15:guide>
        <p15:guide id="12" orient="horz" pos="527" userDrawn="1">
          <p15:clr>
            <a:srgbClr val="9FCC3B"/>
          </p15:clr>
        </p15:guide>
        <p15:guide id="13" orient="horz" pos="3838" userDrawn="1">
          <p15:clr>
            <a:srgbClr val="9FCC3B"/>
          </p15:clr>
        </p15:guide>
        <p15:guide id="14" orient="horz" pos="4065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585717171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7" imgW="360" imgH="360" progId="">
                  <p:embed/>
                </p:oleObj>
              </mc:Choice>
              <mc:Fallback>
                <p:oleObj name="think-cell Folie" r:id="rId7" imgW="360" imgH="360" progId="">
                  <p:embed/>
                  <p:pic>
                    <p:nvPicPr>
                      <p:cNvPr id="13" name="Objek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0271312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718" r:id="rId2"/>
    <p:sldLayoutId id="2147483719" r:id="rId3"/>
    <p:sldLayoutId id="2147483745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400"/>
        </a:spcAft>
        <a:buFont typeface="Arial" pitchFamily="34" charset="0"/>
        <a:buNone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324000" indent="-324000" algn="l" defTabSz="914400" rtl="0" eaLnBrk="1" latinLnBrk="0" hangingPunct="1">
        <a:spcBef>
          <a:spcPts val="0"/>
        </a:spcBef>
        <a:spcAft>
          <a:spcPts val="400"/>
        </a:spcAft>
        <a:buFont typeface="Wingdings" panose="05000000000000000000" pitchFamily="2" charset="2"/>
        <a:buChar char="l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24000" indent="-324000" algn="l" defTabSz="914400" rtl="0" eaLnBrk="1" latinLnBrk="0" hangingPunct="1">
        <a:spcBef>
          <a:spcPts val="0"/>
        </a:spcBef>
        <a:spcAft>
          <a:spcPts val="400"/>
        </a:spcAft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76000" indent="-288000" algn="l" defTabSz="914400" rtl="0" eaLnBrk="1" latinLnBrk="0" hangingPunct="1">
        <a:spcBef>
          <a:spcPts val="0"/>
        </a:spcBef>
        <a:spcAft>
          <a:spcPts val="400"/>
        </a:spcAft>
        <a:buFont typeface="Wingdings" panose="05000000000000000000" pitchFamily="2" charset="2"/>
        <a:buChar char="l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576000" indent="-288000" algn="l" defTabSz="914400" rtl="0" eaLnBrk="1" latinLnBrk="0" hangingPunct="1">
        <a:spcBef>
          <a:spcPts val="0"/>
        </a:spcBef>
        <a:spcAft>
          <a:spcPts val="400"/>
        </a:spcAft>
        <a:buFont typeface="Symbol" panose="05050102010706020507" pitchFamily="18" charset="2"/>
        <a:buChar char="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257">
          <p15:clr>
            <a:srgbClr val="F26B43"/>
          </p15:clr>
        </p15:guide>
        <p15:guide id="3" pos="7423">
          <p15:clr>
            <a:srgbClr val="F26B43"/>
          </p15:clr>
        </p15:guide>
        <p15:guide id="5" pos="3568">
          <p15:clr>
            <a:srgbClr val="9FCC3B"/>
          </p15:clr>
        </p15:guide>
        <p15:guide id="6" pos="3840">
          <p15:clr>
            <a:srgbClr val="A4A3A4"/>
          </p15:clr>
        </p15:guide>
        <p15:guide id="7" orient="horz" pos="255">
          <p15:clr>
            <a:srgbClr val="F26B43"/>
          </p15:clr>
        </p15:guide>
        <p15:guide id="8" pos="529">
          <p15:clr>
            <a:srgbClr val="9FCC3B"/>
          </p15:clr>
        </p15:guide>
        <p15:guide id="9" pos="4112">
          <p15:clr>
            <a:srgbClr val="9FCC3B"/>
          </p15:clr>
        </p15:guide>
        <p15:guide id="10" pos="7151">
          <p15:clr>
            <a:srgbClr val="9FCC3B"/>
          </p15:clr>
        </p15:guide>
        <p15:guide id="11" orient="horz" pos="2160">
          <p15:clr>
            <a:srgbClr val="A4A3A4"/>
          </p15:clr>
        </p15:guide>
        <p15:guide id="12" orient="horz" pos="527">
          <p15:clr>
            <a:srgbClr val="9FCC3B"/>
          </p15:clr>
        </p15:guide>
        <p15:guide id="13" orient="horz" pos="3838">
          <p15:clr>
            <a:srgbClr val="9FCC3B"/>
          </p15:clr>
        </p15:guide>
        <p15:guide id="14" orient="horz" pos="4065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3857202061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0" imgW="360" imgH="360" progId="">
                  <p:embed/>
                </p:oleObj>
              </mc:Choice>
              <mc:Fallback>
                <p:oleObj name="think-cell Folie" r:id="rId20" imgW="360" imgH="360" progId="">
                  <p:embed/>
                  <p:pic>
                    <p:nvPicPr>
                      <p:cNvPr id="13" name="Objek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7344158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705" r:id="rId3"/>
    <p:sldLayoutId id="2147483706" r:id="rId4"/>
    <p:sldLayoutId id="2147483707" r:id="rId5"/>
    <p:sldLayoutId id="2147483708" r:id="rId6"/>
    <p:sldLayoutId id="2147483709" r:id="rId7"/>
    <p:sldLayoutId id="2147483710" r:id="rId8"/>
    <p:sldLayoutId id="2147483711" r:id="rId9"/>
    <p:sldLayoutId id="2147483712" r:id="rId10"/>
    <p:sldLayoutId id="2147483713" r:id="rId11"/>
    <p:sldLayoutId id="2147483714" r:id="rId12"/>
    <p:sldLayoutId id="2147483715" r:id="rId13"/>
    <p:sldLayoutId id="2147483720" r:id="rId14"/>
    <p:sldLayoutId id="2147483721" r:id="rId15"/>
    <p:sldLayoutId id="2147483722" r:id="rId16"/>
    <p:sldLayoutId id="2147483723" r:id="rId1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400"/>
        </a:spcAft>
        <a:buFont typeface="Arial" pitchFamily="34" charset="0"/>
        <a:buNone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324000" indent="-324000" algn="l" defTabSz="914400" rtl="0" eaLnBrk="1" latinLnBrk="0" hangingPunct="1">
        <a:spcBef>
          <a:spcPts val="0"/>
        </a:spcBef>
        <a:spcAft>
          <a:spcPts val="400"/>
        </a:spcAft>
        <a:buFont typeface="Wingdings" panose="05000000000000000000" pitchFamily="2" charset="2"/>
        <a:buChar char="l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24000" indent="-324000" algn="l" defTabSz="914400" rtl="0" eaLnBrk="1" latinLnBrk="0" hangingPunct="1">
        <a:spcBef>
          <a:spcPts val="0"/>
        </a:spcBef>
        <a:spcAft>
          <a:spcPts val="400"/>
        </a:spcAft>
        <a:buFont typeface="Symbol" panose="05050102010706020507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76000" indent="-288000" algn="l" defTabSz="914400" rtl="0" eaLnBrk="1" latinLnBrk="0" hangingPunct="1">
        <a:spcBef>
          <a:spcPts val="0"/>
        </a:spcBef>
        <a:spcAft>
          <a:spcPts val="400"/>
        </a:spcAft>
        <a:buFont typeface="Wingdings" panose="05000000000000000000" pitchFamily="2" charset="2"/>
        <a:buChar char="l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576000" indent="-288000" algn="l" defTabSz="914400" rtl="0" eaLnBrk="1" latinLnBrk="0" hangingPunct="1">
        <a:spcBef>
          <a:spcPts val="0"/>
        </a:spcBef>
        <a:spcAft>
          <a:spcPts val="400"/>
        </a:spcAft>
        <a:buFont typeface="Symbol" panose="05050102010706020507" pitchFamily="18" charset="2"/>
        <a:buChar char="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257">
          <p15:clr>
            <a:srgbClr val="F26B43"/>
          </p15:clr>
        </p15:guide>
        <p15:guide id="3" pos="7423">
          <p15:clr>
            <a:srgbClr val="F26B43"/>
          </p15:clr>
        </p15:guide>
        <p15:guide id="5" pos="3568">
          <p15:clr>
            <a:srgbClr val="9FCC3B"/>
          </p15:clr>
        </p15:guide>
        <p15:guide id="6" pos="3840">
          <p15:clr>
            <a:srgbClr val="A4A3A4"/>
          </p15:clr>
        </p15:guide>
        <p15:guide id="7" orient="horz" pos="255">
          <p15:clr>
            <a:srgbClr val="F26B43"/>
          </p15:clr>
        </p15:guide>
        <p15:guide id="8" pos="529">
          <p15:clr>
            <a:srgbClr val="9FCC3B"/>
          </p15:clr>
        </p15:guide>
        <p15:guide id="9" pos="4112">
          <p15:clr>
            <a:srgbClr val="9FCC3B"/>
          </p15:clr>
        </p15:guide>
        <p15:guide id="10" pos="7151">
          <p15:clr>
            <a:srgbClr val="9FCC3B"/>
          </p15:clr>
        </p15:guide>
        <p15:guide id="11" orient="horz" pos="2160">
          <p15:clr>
            <a:srgbClr val="A4A3A4"/>
          </p15:clr>
        </p15:guide>
        <p15:guide id="12" orient="horz" pos="527">
          <p15:clr>
            <a:srgbClr val="9FCC3B"/>
          </p15:clr>
        </p15:guide>
        <p15:guide id="13" orient="horz" pos="3838">
          <p15:clr>
            <a:srgbClr val="9FCC3B"/>
          </p15:clr>
        </p15:guide>
        <p15:guide id="14" orient="horz" pos="406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8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0.png"/><Relationship Id="rId3" Type="http://schemas.openxmlformats.org/officeDocument/2006/relationships/customXml" Target="../../customXml/item2.xml"/><Relationship Id="rId7" Type="http://schemas.openxmlformats.org/officeDocument/2006/relationships/image" Target="../media/image20.png"/><Relationship Id="rId2" Type="http://schemas.openxmlformats.org/officeDocument/2006/relationships/customXml" Target="../../customXml/item1.x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190.png"/><Relationship Id="rId5" Type="http://schemas.openxmlformats.org/officeDocument/2006/relationships/image" Target="../media/image19.png"/><Relationship Id="rId10" Type="http://schemas.openxmlformats.org/officeDocument/2006/relationships/image" Target="../media/image210.png"/><Relationship Id="rId4" Type="http://schemas.openxmlformats.org/officeDocument/2006/relationships/slideLayout" Target="../slideLayouts/slideLayout17.xml"/><Relationship Id="rId9" Type="http://schemas.openxmlformats.org/officeDocument/2006/relationships/image" Target="../media/image21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customXml" Target="../../customXml/item4.xml"/><Relationship Id="rId1" Type="http://schemas.openxmlformats.org/officeDocument/2006/relationships/customXml" Target="../../customXml/item3.xml"/><Relationship Id="rId5" Type="http://schemas.openxmlformats.org/officeDocument/2006/relationships/image" Target="../media/image22.png"/><Relationship Id="rId4" Type="http://schemas.microsoft.com/office/2018/10/relationships/comments" Target="../comments/modernComment_7FFFFFC3_EBECD39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customXml" Target="../../customXml/item6.xml"/><Relationship Id="rId1" Type="http://schemas.openxmlformats.org/officeDocument/2006/relationships/customXml" Target="../../customXml/item5.xml"/><Relationship Id="rId4" Type="http://schemas.openxmlformats.org/officeDocument/2006/relationships/image" Target="../media/image23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customXml" Target="../../customXml/item8.xml"/><Relationship Id="rId1" Type="http://schemas.openxmlformats.org/officeDocument/2006/relationships/customXml" Target="../../customXml/item7.xml"/><Relationship Id="rId5" Type="http://schemas.openxmlformats.org/officeDocument/2006/relationships/image" Target="../media/image24.png"/><Relationship Id="rId4" Type="http://schemas.openxmlformats.org/officeDocument/2006/relationships/notesSlide" Target="../notesSlides/notesSlide4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0.png"/><Relationship Id="rId3" Type="http://schemas.openxmlformats.org/officeDocument/2006/relationships/customXml" Target="../../customXml/item10.xml"/><Relationship Id="rId7" Type="http://schemas.openxmlformats.org/officeDocument/2006/relationships/image" Target="../media/image26.png"/><Relationship Id="rId2" Type="http://schemas.openxmlformats.org/officeDocument/2006/relationships/customXml" Target="../../customXml/item9.xml"/><Relationship Id="rId1" Type="http://schemas.openxmlformats.org/officeDocument/2006/relationships/themeOverride" Target="../theme/themeOverride2.xml"/><Relationship Id="rId6" Type="http://schemas.openxmlformats.org/officeDocument/2006/relationships/image" Target="../media/image250.png"/><Relationship Id="rId5" Type="http://schemas.openxmlformats.org/officeDocument/2006/relationships/image" Target="../media/image25.png"/><Relationship Id="rId10" Type="http://schemas.openxmlformats.org/officeDocument/2006/relationships/image" Target="../media/image270.png"/><Relationship Id="rId4" Type="http://schemas.openxmlformats.org/officeDocument/2006/relationships/slideLayout" Target="../slideLayouts/slideLayout17.xml"/><Relationship Id="rId9" Type="http://schemas.openxmlformats.org/officeDocument/2006/relationships/image" Target="../media/image27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5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customXml" Target="../../customXml/item12.xml"/><Relationship Id="rId1" Type="http://schemas.openxmlformats.org/officeDocument/2006/relationships/customXml" Target="../../customXml/item11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notesSlide" Target="../notesSlides/notesSlide5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customXml" Target="../../customXml/item14.xml"/><Relationship Id="rId1" Type="http://schemas.openxmlformats.org/officeDocument/2006/relationships/customXml" Target="../../customXml/item13.xml"/><Relationship Id="rId5" Type="http://schemas.openxmlformats.org/officeDocument/2006/relationships/image" Target="../media/image30.png"/><Relationship Id="rId4" Type="http://schemas.openxmlformats.org/officeDocument/2006/relationships/notesSlide" Target="../notesSlides/notesSlide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customXml" Target="../../customXml/item16.xml"/><Relationship Id="rId1" Type="http://schemas.openxmlformats.org/officeDocument/2006/relationships/customXml" Target="../../customXml/item15.xml"/><Relationship Id="rId5" Type="http://schemas.openxmlformats.org/officeDocument/2006/relationships/image" Target="../media/image31.png"/><Relationship Id="rId4" Type="http://schemas.openxmlformats.org/officeDocument/2006/relationships/notesSlide" Target="../notesSlides/notesSlide7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0.png"/><Relationship Id="rId3" Type="http://schemas.openxmlformats.org/officeDocument/2006/relationships/customXml" Target="../../customXml/item18.xml"/><Relationship Id="rId7" Type="http://schemas.openxmlformats.org/officeDocument/2006/relationships/image" Target="../media/image33.png"/><Relationship Id="rId2" Type="http://schemas.openxmlformats.org/officeDocument/2006/relationships/customXml" Target="../../customXml/item17.xml"/><Relationship Id="rId1" Type="http://schemas.openxmlformats.org/officeDocument/2006/relationships/themeOverride" Target="../theme/themeOverride3.xml"/><Relationship Id="rId6" Type="http://schemas.openxmlformats.org/officeDocument/2006/relationships/image" Target="../media/image320.png"/><Relationship Id="rId5" Type="http://schemas.openxmlformats.org/officeDocument/2006/relationships/image" Target="../media/image32.png"/><Relationship Id="rId4" Type="http://schemas.openxmlformats.org/officeDocument/2006/relationships/slideLayout" Target="../slideLayouts/slideLayout17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customXml" Target="../../customXml/item20.xml"/><Relationship Id="rId1" Type="http://schemas.openxmlformats.org/officeDocument/2006/relationships/customXml" Target="../../customXml/item19.xml"/><Relationship Id="rId5" Type="http://schemas.openxmlformats.org/officeDocument/2006/relationships/image" Target="../media/image34.png"/><Relationship Id="rId4" Type="http://schemas.openxmlformats.org/officeDocument/2006/relationships/notesSlide" Target="../notesSlides/notesSlide8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customXml" Target="../../customXml/item22.xml"/><Relationship Id="rId1" Type="http://schemas.openxmlformats.org/officeDocument/2006/relationships/customXml" Target="../../customXml/item21.xml"/><Relationship Id="rId5" Type="http://schemas.openxmlformats.org/officeDocument/2006/relationships/image" Target="../media/image35.png"/><Relationship Id="rId4" Type="http://schemas.openxmlformats.org/officeDocument/2006/relationships/notesSlide" Target="../notesSlides/notesSlide9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customXml" Target="../../customXml/item24.xml"/><Relationship Id="rId7" Type="http://schemas.openxmlformats.org/officeDocument/2006/relationships/image" Target="../media/image360.png"/><Relationship Id="rId2" Type="http://schemas.openxmlformats.org/officeDocument/2006/relationships/customXml" Target="../../customXml/item23.xml"/><Relationship Id="rId1" Type="http://schemas.openxmlformats.org/officeDocument/2006/relationships/themeOverride" Target="../theme/themeOverride4.xml"/><Relationship Id="rId6" Type="http://schemas.openxmlformats.org/officeDocument/2006/relationships/image" Target="../media/image36.png"/><Relationship Id="rId5" Type="http://schemas.microsoft.com/office/2018/10/relationships/comments" Target="../comments/modernComment_7FFFFFCD_C2E5F52C.xml"/><Relationship Id="rId4" Type="http://schemas.openxmlformats.org/officeDocument/2006/relationships/slideLayout" Target="../slideLayouts/slideLayout17.xml"/><Relationship Id="rId9" Type="http://schemas.openxmlformats.org/officeDocument/2006/relationships/image" Target="../media/image370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customXml" Target="../../customXml/item26.xml"/><Relationship Id="rId1" Type="http://schemas.openxmlformats.org/officeDocument/2006/relationships/customXml" Target="../../customXml/item25.xml"/><Relationship Id="rId6" Type="http://schemas.openxmlformats.org/officeDocument/2006/relationships/image" Target="../media/image38.png"/><Relationship Id="rId5" Type="http://schemas.microsoft.com/office/2018/10/relationships/comments" Target="../comments/modernComment_7FFFFFCE_1C6C9F39.xml"/><Relationship Id="rId4" Type="http://schemas.openxmlformats.org/officeDocument/2006/relationships/notesSlide" Target="../notesSlides/notesSlide10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customXml" Target="../../customXml/item28.xml"/><Relationship Id="rId1" Type="http://schemas.openxmlformats.org/officeDocument/2006/relationships/customXml" Target="../../customXml/item27.xml"/><Relationship Id="rId5" Type="http://schemas.openxmlformats.org/officeDocument/2006/relationships/image" Target="../media/image39.png"/><Relationship Id="rId4" Type="http://schemas.openxmlformats.org/officeDocument/2006/relationships/notesSlide" Target="../notesSlides/notesSlide11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3" Type="http://schemas.openxmlformats.org/officeDocument/2006/relationships/customXml" Target="../../customXml/item30.xml"/><Relationship Id="rId7" Type="http://schemas.openxmlformats.org/officeDocument/2006/relationships/image" Target="../media/image400.png"/><Relationship Id="rId2" Type="http://schemas.openxmlformats.org/officeDocument/2006/relationships/customXml" Target="../../customXml/item29.xml"/><Relationship Id="rId1" Type="http://schemas.openxmlformats.org/officeDocument/2006/relationships/themeOverride" Target="../theme/themeOverride5.xml"/><Relationship Id="rId6" Type="http://schemas.openxmlformats.org/officeDocument/2006/relationships/image" Target="../media/image40.png"/><Relationship Id="rId5" Type="http://schemas.microsoft.com/office/2018/10/relationships/comments" Target="../comments/modernComment_7FFFFFD0_108BEBD8.xml"/><Relationship Id="rId4" Type="http://schemas.openxmlformats.org/officeDocument/2006/relationships/slideLayout" Target="../slideLayouts/slideLayout17.xml"/><Relationship Id="rId9" Type="http://schemas.openxmlformats.org/officeDocument/2006/relationships/image" Target="../media/image410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linkedin.com/in/zden%C4%9Bk-pytl%C3%AD%C4%8Dek-24396b27/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6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customXml" Target="../../customXml/item32.xml"/><Relationship Id="rId1" Type="http://schemas.openxmlformats.org/officeDocument/2006/relationships/customXml" Target="../../customXml/item31.xml"/><Relationship Id="rId6" Type="http://schemas.openxmlformats.org/officeDocument/2006/relationships/image" Target="../media/image43.png"/><Relationship Id="rId5" Type="http://schemas.openxmlformats.org/officeDocument/2006/relationships/image" Target="../media/image42.png"/><Relationship Id="rId4" Type="http://schemas.openxmlformats.org/officeDocument/2006/relationships/notesSlide" Target="../notesSlides/notesSlide1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customXml" Target="../../customXml/item34.xml"/><Relationship Id="rId1" Type="http://schemas.openxmlformats.org/officeDocument/2006/relationships/customXml" Target="../../customXml/item33.xml"/><Relationship Id="rId5" Type="http://schemas.openxmlformats.org/officeDocument/2006/relationships/image" Target="../media/image44.png"/><Relationship Id="rId4" Type="http://schemas.openxmlformats.org/officeDocument/2006/relationships/notesSlide" Target="../notesSlides/notesSlide13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3" Type="http://schemas.openxmlformats.org/officeDocument/2006/relationships/customXml" Target="../../customXml/item36.xml"/><Relationship Id="rId7" Type="http://schemas.openxmlformats.org/officeDocument/2006/relationships/image" Target="../media/image450.png"/><Relationship Id="rId2" Type="http://schemas.openxmlformats.org/officeDocument/2006/relationships/customXml" Target="../../customXml/item35.xml"/><Relationship Id="rId1" Type="http://schemas.openxmlformats.org/officeDocument/2006/relationships/themeOverride" Target="../theme/themeOverride6.xml"/><Relationship Id="rId6" Type="http://schemas.openxmlformats.org/officeDocument/2006/relationships/image" Target="../media/image45.png"/><Relationship Id="rId11" Type="http://schemas.openxmlformats.org/officeDocument/2006/relationships/image" Target="../media/image470.png"/><Relationship Id="rId5" Type="http://schemas.microsoft.com/office/2018/10/relationships/comments" Target="../comments/modernComment_7FFFFFD4_80447165.xml"/><Relationship Id="rId10" Type="http://schemas.openxmlformats.org/officeDocument/2006/relationships/image" Target="../media/image47.png"/><Relationship Id="rId4" Type="http://schemas.openxmlformats.org/officeDocument/2006/relationships/slideLayout" Target="../slideLayouts/slideLayout17.xml"/><Relationship Id="rId9" Type="http://schemas.openxmlformats.org/officeDocument/2006/relationships/image" Target="../media/image460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customXml" Target="../../customXml/item38.xml"/><Relationship Id="rId1" Type="http://schemas.openxmlformats.org/officeDocument/2006/relationships/customXml" Target="../../customXml/item37.xml"/><Relationship Id="rId6" Type="http://schemas.openxmlformats.org/officeDocument/2006/relationships/image" Target="../media/image49.png"/><Relationship Id="rId5" Type="http://schemas.openxmlformats.org/officeDocument/2006/relationships/image" Target="../media/image48.png"/><Relationship Id="rId4" Type="http://schemas.openxmlformats.org/officeDocument/2006/relationships/notesSlide" Target="../notesSlides/notesSlide14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customXml" Target="../../customXml/item40.xml"/><Relationship Id="rId1" Type="http://schemas.openxmlformats.org/officeDocument/2006/relationships/customXml" Target="../../customXml/item39.xml"/><Relationship Id="rId5" Type="http://schemas.openxmlformats.org/officeDocument/2006/relationships/image" Target="../media/image50.png"/><Relationship Id="rId4" Type="http://schemas.openxmlformats.org/officeDocument/2006/relationships/notesSlide" Target="../notesSlides/notesSlide15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customXml" Target="../../customXml/item42.xml"/><Relationship Id="rId1" Type="http://schemas.openxmlformats.org/officeDocument/2006/relationships/customXml" Target="../../customXml/item41.xml"/><Relationship Id="rId5" Type="http://schemas.openxmlformats.org/officeDocument/2006/relationships/image" Target="../media/image51.png"/><Relationship Id="rId4" Type="http://schemas.openxmlformats.org/officeDocument/2006/relationships/notesSlide" Target="../notesSlides/notesSlide16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8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A00807DE-2298-4F67-9C91-B4F946C347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417" y="3212976"/>
            <a:ext cx="9793087" cy="2304256"/>
          </a:xfrm>
        </p:spPr>
        <p:txBody>
          <a:bodyPr/>
          <a:lstStyle/>
          <a:p>
            <a:r>
              <a:rPr lang="cs-CZ" sz="4800" dirty="0"/>
              <a:t>Uživatelské automatizační nástroje a jejich využití pro zjednodušení každodenní agendy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29A8FAFA-0682-4493-82F7-AFB5CD5272D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40592" y="2348880"/>
            <a:ext cx="10511552" cy="720080"/>
          </a:xfrm>
        </p:spPr>
        <p:txBody>
          <a:bodyPr/>
          <a:lstStyle/>
          <a:p>
            <a:r>
              <a:rPr lang="cs-CZ" dirty="0"/>
              <a:t>Zdeněk Pytlíček</a:t>
            </a:r>
          </a:p>
          <a:p>
            <a:r>
              <a:rPr lang="cs-CZ" sz="1400" u="none" dirty="0"/>
              <a:t>15. října 2024, MMR</a:t>
            </a:r>
          </a:p>
        </p:txBody>
      </p:sp>
    </p:spTree>
    <p:extLst>
      <p:ext uri="{BB962C8B-B14F-4D97-AF65-F5344CB8AC3E}">
        <p14:creationId xmlns:p14="http://schemas.microsoft.com/office/powerpoint/2010/main" val="269634387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text 5">
            <a:extLst>
              <a:ext uri="{FF2B5EF4-FFF2-40B4-BE49-F238E27FC236}">
                <a16:creationId xmlns:a16="http://schemas.microsoft.com/office/drawing/2014/main" id="{7C4E4BB0-05E4-48F2-827B-2DFA2B19E8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cs-CZ" sz="2800" dirty="0"/>
              <a:t>Řízení automatizace procesů – bez pravidel to nejde (</a:t>
            </a:r>
            <a:r>
              <a:rPr lang="cs-CZ" sz="2800" dirty="0" err="1"/>
              <a:t>shadow</a:t>
            </a:r>
            <a:r>
              <a:rPr lang="cs-CZ" sz="2800" dirty="0"/>
              <a:t> IT)</a:t>
            </a:r>
          </a:p>
        </p:txBody>
      </p:sp>
      <p:sp>
        <p:nvSpPr>
          <p:cNvPr id="21" name="Zástupný symbol pro číslo snímku 20">
            <a:extLst>
              <a:ext uri="{FF2B5EF4-FFF2-40B4-BE49-F238E27FC236}">
                <a16:creationId xmlns:a16="http://schemas.microsoft.com/office/drawing/2014/main" id="{11B9916C-FE2D-4AED-B527-F52B889B3E2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6545F21-C657-4764-B5B2-92A02BE34E1E}" type="slidenum">
              <a:rPr lang="cs-CZ" smtClean="0"/>
              <a:pPr/>
              <a:t>10</a:t>
            </a:fld>
            <a:endParaRPr lang="cs-CZ"/>
          </a:p>
        </p:txBody>
      </p:sp>
      <p:graphicFrame>
        <p:nvGraphicFramePr>
          <p:cNvPr id="2" name="Tabulka 2">
            <a:extLst>
              <a:ext uri="{FF2B5EF4-FFF2-40B4-BE49-F238E27FC236}">
                <a16:creationId xmlns:a16="http://schemas.microsoft.com/office/drawing/2014/main" id="{6B5C7500-709E-2415-9304-4AF9A7AFE88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45146166"/>
              </p:ext>
            </p:extLst>
          </p:nvPr>
        </p:nvGraphicFramePr>
        <p:xfrm>
          <a:off x="839416" y="1412776"/>
          <a:ext cx="10585175" cy="475678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17035">
                  <a:extLst>
                    <a:ext uri="{9D8B030D-6E8A-4147-A177-3AD203B41FA5}">
                      <a16:colId xmlns:a16="http://schemas.microsoft.com/office/drawing/2014/main" val="2698479495"/>
                    </a:ext>
                  </a:extLst>
                </a:gridCol>
                <a:gridCol w="2117035">
                  <a:extLst>
                    <a:ext uri="{9D8B030D-6E8A-4147-A177-3AD203B41FA5}">
                      <a16:colId xmlns:a16="http://schemas.microsoft.com/office/drawing/2014/main" val="390630325"/>
                    </a:ext>
                  </a:extLst>
                </a:gridCol>
                <a:gridCol w="2117035">
                  <a:extLst>
                    <a:ext uri="{9D8B030D-6E8A-4147-A177-3AD203B41FA5}">
                      <a16:colId xmlns:a16="http://schemas.microsoft.com/office/drawing/2014/main" val="1573877655"/>
                    </a:ext>
                  </a:extLst>
                </a:gridCol>
                <a:gridCol w="2117035">
                  <a:extLst>
                    <a:ext uri="{9D8B030D-6E8A-4147-A177-3AD203B41FA5}">
                      <a16:colId xmlns:a16="http://schemas.microsoft.com/office/drawing/2014/main" val="2170201113"/>
                    </a:ext>
                  </a:extLst>
                </a:gridCol>
                <a:gridCol w="2117035">
                  <a:extLst>
                    <a:ext uri="{9D8B030D-6E8A-4147-A177-3AD203B41FA5}">
                      <a16:colId xmlns:a16="http://schemas.microsoft.com/office/drawing/2014/main" val="107339781"/>
                    </a:ext>
                  </a:extLst>
                </a:gridCol>
              </a:tblGrid>
              <a:tr h="857566">
                <a:tc>
                  <a:txBody>
                    <a:bodyPr/>
                    <a:lstStyle/>
                    <a:p>
                      <a:pPr algn="ctr"/>
                      <a:r>
                        <a:rPr lang="cs-CZ" sz="2000" dirty="0"/>
                        <a:t>Typ procesu / Komplexit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2000" dirty="0"/>
                        <a:t>Způsob dokumentac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2000" dirty="0"/>
                        <a:t>Nástroj / Systé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2000" dirty="0"/>
                        <a:t>Vytváří / Provozuj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2000" dirty="0"/>
                        <a:t>Zodpovídá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194643467"/>
                  </a:ext>
                </a:extLst>
              </a:tr>
              <a:tr h="857566">
                <a:tc>
                  <a:txBody>
                    <a:bodyPr/>
                    <a:lstStyle/>
                    <a:p>
                      <a:pPr algn="ctr"/>
                      <a:r>
                        <a:rPr lang="cs-CZ" sz="2000" b="1" dirty="0">
                          <a:solidFill>
                            <a:schemeClr val="tx1"/>
                          </a:solidFill>
                        </a:rPr>
                        <a:t>Integrac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2000" b="1" dirty="0">
                          <a:solidFill>
                            <a:schemeClr val="tx1"/>
                          </a:solidFill>
                        </a:rPr>
                        <a:t>Projektové řízení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2000" b="1" dirty="0">
                          <a:solidFill>
                            <a:schemeClr val="tx1"/>
                          </a:solidFill>
                        </a:rPr>
                        <a:t>Programová úprav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2000" b="1" dirty="0">
                          <a:solidFill>
                            <a:schemeClr val="tx1"/>
                          </a:solidFill>
                        </a:rPr>
                        <a:t>IT specialist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2000" b="1" dirty="0">
                          <a:solidFill>
                            <a:schemeClr val="tx1"/>
                          </a:solidFill>
                        </a:rPr>
                        <a:t>IT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766836952"/>
                  </a:ext>
                </a:extLst>
              </a:tr>
              <a:tr h="857566">
                <a:tc>
                  <a:txBody>
                    <a:bodyPr/>
                    <a:lstStyle/>
                    <a:p>
                      <a:pPr algn="ctr"/>
                      <a:r>
                        <a:rPr lang="cs-CZ" sz="2000" b="1" dirty="0">
                          <a:solidFill>
                            <a:schemeClr val="tx1"/>
                          </a:solidFill>
                        </a:rPr>
                        <a:t>E2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2000" b="1" dirty="0">
                          <a:solidFill>
                            <a:schemeClr val="tx1"/>
                          </a:solidFill>
                        </a:rPr>
                        <a:t>Dokumentace I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2000" b="1" dirty="0">
                          <a:solidFill>
                            <a:schemeClr val="tx1"/>
                          </a:solidFill>
                        </a:rPr>
                        <a:t>Specializovaný </a:t>
                      </a:r>
                      <a:r>
                        <a:rPr lang="cs-CZ" sz="2000" b="1" dirty="0" err="1">
                          <a:solidFill>
                            <a:schemeClr val="tx1"/>
                          </a:solidFill>
                        </a:rPr>
                        <a:t>Low</a:t>
                      </a:r>
                      <a:r>
                        <a:rPr lang="cs-CZ" sz="2000" b="1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cs-CZ" sz="2000" b="1" dirty="0" err="1">
                          <a:solidFill>
                            <a:schemeClr val="tx1"/>
                          </a:solidFill>
                        </a:rPr>
                        <a:t>code</a:t>
                      </a:r>
                      <a:r>
                        <a:rPr lang="cs-CZ" sz="2000" b="1" dirty="0">
                          <a:solidFill>
                            <a:schemeClr val="tx1"/>
                          </a:solidFill>
                        </a:rPr>
                        <a:t> / No </a:t>
                      </a:r>
                      <a:r>
                        <a:rPr lang="cs-CZ" sz="2000" b="1" dirty="0" err="1">
                          <a:solidFill>
                            <a:schemeClr val="tx1"/>
                          </a:solidFill>
                        </a:rPr>
                        <a:t>code</a:t>
                      </a:r>
                      <a:r>
                        <a:rPr lang="cs-CZ" sz="2000" b="1" dirty="0">
                          <a:solidFill>
                            <a:schemeClr val="tx1"/>
                          </a:solidFill>
                        </a:rPr>
                        <a:t> nástroj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2000" b="1" dirty="0">
                          <a:solidFill>
                            <a:schemeClr val="tx1"/>
                          </a:solidFill>
                        </a:rPr>
                        <a:t>IT specialista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2000" b="1" dirty="0">
                          <a:solidFill>
                            <a:schemeClr val="tx1"/>
                          </a:solidFill>
                        </a:rPr>
                        <a:t>IT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555267808"/>
                  </a:ext>
                </a:extLst>
              </a:tr>
              <a:tr h="1178249">
                <a:tc>
                  <a:txBody>
                    <a:bodyPr/>
                    <a:lstStyle/>
                    <a:p>
                      <a:pPr algn="ctr"/>
                      <a:r>
                        <a:rPr lang="cs-CZ" sz="2000" b="1" dirty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Proces skupiny uživatelů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2000" b="1" dirty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Dokumentace uživatele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2000" b="1" dirty="0" err="1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Low</a:t>
                      </a:r>
                      <a:r>
                        <a:rPr lang="cs-CZ" sz="2000" b="1" dirty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cs-CZ" sz="2000" b="1" dirty="0" err="1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code</a:t>
                      </a:r>
                      <a:r>
                        <a:rPr lang="cs-CZ" sz="2000" b="1" dirty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 / No </a:t>
                      </a:r>
                      <a:r>
                        <a:rPr lang="cs-CZ" sz="2000" b="1" dirty="0" err="1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code</a:t>
                      </a:r>
                      <a:r>
                        <a:rPr lang="cs-CZ" sz="2000" b="1" dirty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2000" b="1" dirty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Citizen develope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2000" b="1" dirty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Dotčený úsek businessu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105288651"/>
                  </a:ext>
                </a:extLst>
              </a:tr>
              <a:tr h="857566">
                <a:tc>
                  <a:txBody>
                    <a:bodyPr/>
                    <a:lstStyle/>
                    <a:p>
                      <a:pPr algn="ctr"/>
                      <a:r>
                        <a:rPr lang="cs-CZ" sz="2000" b="1" dirty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Proces jednoho uživatel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2000" b="1" dirty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Bez dokumentac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2000" b="1" dirty="0" err="1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Low</a:t>
                      </a:r>
                      <a:r>
                        <a:rPr lang="cs-CZ" sz="2000" b="1" dirty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 </a:t>
                      </a:r>
                      <a:r>
                        <a:rPr lang="cs-CZ" sz="2000" b="1" dirty="0" err="1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code</a:t>
                      </a:r>
                      <a:r>
                        <a:rPr lang="cs-CZ" sz="2000" b="1" dirty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 / No </a:t>
                      </a:r>
                      <a:r>
                        <a:rPr lang="cs-CZ" sz="2000" b="1" dirty="0" err="1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code</a:t>
                      </a:r>
                      <a:r>
                        <a:rPr lang="cs-CZ" sz="2000" b="1" dirty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2000" b="1" dirty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Citizen develope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2000" b="1" dirty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Dotčený úsek / odbor businessu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893201784"/>
                  </a:ext>
                </a:extLst>
              </a:tr>
            </a:tbl>
          </a:graphicData>
        </a:graphic>
      </p:graphicFrame>
      <p:sp>
        <p:nvSpPr>
          <p:cNvPr id="3" name="Obdélník 2">
            <a:extLst>
              <a:ext uri="{FF2B5EF4-FFF2-40B4-BE49-F238E27FC236}">
                <a16:creationId xmlns:a16="http://schemas.microsoft.com/office/drawing/2014/main" id="{D5A513DC-1B70-3008-21A9-4D90037E85D9}"/>
              </a:ext>
            </a:extLst>
          </p:cNvPr>
          <p:cNvSpPr/>
          <p:nvPr/>
        </p:nvSpPr>
        <p:spPr bwMode="gray">
          <a:xfrm>
            <a:off x="767408" y="4077072"/>
            <a:ext cx="10729192" cy="2160240"/>
          </a:xfrm>
          <a:prstGeom prst="rect">
            <a:avLst/>
          </a:prstGeom>
          <a:noFill/>
          <a:ln cap="sq">
            <a:solidFill>
              <a:srgbClr val="32373C"/>
            </a:solidFill>
            <a:prstDash val="dash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72000" rIns="144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ctr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cs-CZ" sz="1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529940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text 5">
            <a:extLst>
              <a:ext uri="{FF2B5EF4-FFF2-40B4-BE49-F238E27FC236}">
                <a16:creationId xmlns:a16="http://schemas.microsoft.com/office/drawing/2014/main" id="{7C4E4BB0-05E4-48F2-827B-2DFA2B19E8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39416" y="620752"/>
            <a:ext cx="10512797" cy="576000"/>
          </a:xfrm>
        </p:spPr>
        <p:txBody>
          <a:bodyPr/>
          <a:lstStyle/>
          <a:p>
            <a:r>
              <a:rPr lang="cs-CZ" sz="2800" dirty="0"/>
              <a:t>Organizace automatizace a vzdělávání Citizen developerů</a:t>
            </a:r>
          </a:p>
        </p:txBody>
      </p:sp>
      <p:sp>
        <p:nvSpPr>
          <p:cNvPr id="21" name="Zástupný symbol pro číslo snímku 20">
            <a:extLst>
              <a:ext uri="{FF2B5EF4-FFF2-40B4-BE49-F238E27FC236}">
                <a16:creationId xmlns:a16="http://schemas.microsoft.com/office/drawing/2014/main" id="{11B9916C-FE2D-4AED-B527-F52B889B3E2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6545F21-C657-4764-B5B2-92A02BE34E1E}" type="slidenum">
              <a:rPr lang="cs-CZ" smtClean="0"/>
              <a:pPr/>
              <a:t>11</a:t>
            </a:fld>
            <a:endParaRPr lang="cs-CZ"/>
          </a:p>
        </p:txBody>
      </p:sp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AEEEF2A9-D9BD-7D68-7531-4219B903B53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78162788"/>
              </p:ext>
            </p:extLst>
          </p:nvPr>
        </p:nvGraphicFramePr>
        <p:xfrm>
          <a:off x="479376" y="1484784"/>
          <a:ext cx="9505056" cy="496855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pSp>
        <p:nvGrpSpPr>
          <p:cNvPr id="10" name="Skupina 9">
            <a:extLst>
              <a:ext uri="{FF2B5EF4-FFF2-40B4-BE49-F238E27FC236}">
                <a16:creationId xmlns:a16="http://schemas.microsoft.com/office/drawing/2014/main" id="{9DFE11F3-02AA-5882-6DD6-D30BC71027AB}"/>
              </a:ext>
            </a:extLst>
          </p:cNvPr>
          <p:cNvGrpSpPr/>
          <p:nvPr/>
        </p:nvGrpSpPr>
        <p:grpSpPr>
          <a:xfrm>
            <a:off x="4223792" y="1686182"/>
            <a:ext cx="1318083" cy="878722"/>
            <a:chOff x="5424193" y="199597"/>
            <a:chExt cx="1318083" cy="878722"/>
          </a:xfrm>
          <a:scene3d>
            <a:camera prst="orthographicFront">
              <a:rot lat="0" lon="0" rev="0"/>
            </a:camera>
            <a:lightRig rig="contrasting" dir="t">
              <a:rot lat="0" lon="0" rev="1200000"/>
            </a:lightRig>
          </a:scene3d>
        </p:grpSpPr>
        <p:sp>
          <p:nvSpPr>
            <p:cNvPr id="11" name="Obdélník: se zakulacenými rohy 10">
              <a:extLst>
                <a:ext uri="{FF2B5EF4-FFF2-40B4-BE49-F238E27FC236}">
                  <a16:creationId xmlns:a16="http://schemas.microsoft.com/office/drawing/2014/main" id="{E1211563-FE41-9CEB-C607-6806D337764A}"/>
                </a:ext>
              </a:extLst>
            </p:cNvPr>
            <p:cNvSpPr/>
            <p:nvPr/>
          </p:nvSpPr>
          <p:spPr>
            <a:xfrm>
              <a:off x="5424193" y="199597"/>
              <a:ext cx="1318083" cy="878722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/>
            <a:lstStyle/>
            <a:p>
              <a:endParaRPr lang="cs-CZ"/>
            </a:p>
          </p:txBody>
        </p:sp>
        <p:sp>
          <p:nvSpPr>
            <p:cNvPr id="12" name="Obdélník: se zakulacenými rohy 4">
              <a:extLst>
                <a:ext uri="{FF2B5EF4-FFF2-40B4-BE49-F238E27FC236}">
                  <a16:creationId xmlns:a16="http://schemas.microsoft.com/office/drawing/2014/main" id="{D113B50B-E940-8740-485E-691B79F1AAB5}"/>
                </a:ext>
              </a:extLst>
            </p:cNvPr>
            <p:cNvSpPr txBox="1"/>
            <p:nvPr/>
          </p:nvSpPr>
          <p:spPr>
            <a:xfrm>
              <a:off x="5449930" y="225334"/>
              <a:ext cx="1266609" cy="827248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spcFirstLastPara="0" vert="horz" wrap="square" lIns="57150" tIns="57150" rIns="57150" bIns="57150" numCol="1" spcCol="1270" anchor="ctr" anchorCtr="0">
              <a:noAutofit/>
            </a:bodyPr>
            <a:lstStyle/>
            <a:p>
              <a:pPr marL="0" lvl="0" indent="0" algn="ctr" defTabSz="6667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cs-CZ" sz="1500" b="1" kern="1200" dirty="0"/>
                <a:t>IT specialisté</a:t>
              </a:r>
            </a:p>
          </p:txBody>
        </p:sp>
      </p:grpSp>
      <p:grpSp>
        <p:nvGrpSpPr>
          <p:cNvPr id="13" name="Skupina 12">
            <a:extLst>
              <a:ext uri="{FF2B5EF4-FFF2-40B4-BE49-F238E27FC236}">
                <a16:creationId xmlns:a16="http://schemas.microsoft.com/office/drawing/2014/main" id="{B0077E61-C830-C10E-B017-5D2A297A65CD}"/>
              </a:ext>
            </a:extLst>
          </p:cNvPr>
          <p:cNvGrpSpPr/>
          <p:nvPr/>
        </p:nvGrpSpPr>
        <p:grpSpPr>
          <a:xfrm>
            <a:off x="7608168" y="1686182"/>
            <a:ext cx="1318083" cy="878722"/>
            <a:chOff x="5424193" y="199597"/>
            <a:chExt cx="1318083" cy="878722"/>
          </a:xfrm>
          <a:scene3d>
            <a:camera prst="orthographicFront">
              <a:rot lat="0" lon="0" rev="0"/>
            </a:camera>
            <a:lightRig rig="contrasting" dir="t">
              <a:rot lat="0" lon="0" rev="1200000"/>
            </a:lightRig>
          </a:scene3d>
        </p:grpSpPr>
        <p:sp>
          <p:nvSpPr>
            <p:cNvPr id="14" name="Obdélník: se zakulacenými rohy 13">
              <a:extLst>
                <a:ext uri="{FF2B5EF4-FFF2-40B4-BE49-F238E27FC236}">
                  <a16:creationId xmlns:a16="http://schemas.microsoft.com/office/drawing/2014/main" id="{5DB83D4D-1D5C-7715-B490-6304702FDB6B}"/>
                </a:ext>
              </a:extLst>
            </p:cNvPr>
            <p:cNvSpPr/>
            <p:nvPr/>
          </p:nvSpPr>
          <p:spPr>
            <a:xfrm>
              <a:off x="5424193" y="199597"/>
              <a:ext cx="1318083" cy="878722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/>
            <a:lstStyle/>
            <a:p>
              <a:endParaRPr lang="cs-CZ"/>
            </a:p>
          </p:txBody>
        </p:sp>
        <p:sp>
          <p:nvSpPr>
            <p:cNvPr id="15" name="Obdélník: se zakulacenými rohy 4">
              <a:extLst>
                <a:ext uri="{FF2B5EF4-FFF2-40B4-BE49-F238E27FC236}">
                  <a16:creationId xmlns:a16="http://schemas.microsoft.com/office/drawing/2014/main" id="{FD3F297B-C1E5-D6BF-9F5C-F2BDA29E06C6}"/>
                </a:ext>
              </a:extLst>
            </p:cNvPr>
            <p:cNvSpPr txBox="1"/>
            <p:nvPr/>
          </p:nvSpPr>
          <p:spPr>
            <a:xfrm>
              <a:off x="5449930" y="225334"/>
              <a:ext cx="1266609" cy="827248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spcFirstLastPara="0" vert="horz" wrap="square" lIns="57150" tIns="57150" rIns="57150" bIns="57150" numCol="1" spcCol="1270" anchor="ctr" anchorCtr="0">
              <a:noAutofit/>
            </a:bodyPr>
            <a:lstStyle/>
            <a:p>
              <a:pPr marL="0" lvl="0" indent="0" algn="ctr" defTabSz="6667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cs-CZ" sz="1500" b="1" kern="1200" dirty="0"/>
                <a:t>Konzultantská podpora</a:t>
              </a:r>
            </a:p>
          </p:txBody>
        </p:sp>
      </p:grp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4937B9B4-9C07-43F3-B211-210A907E67E7}"/>
              </a:ext>
            </a:extLst>
          </p:cNvPr>
          <p:cNvSpPr txBox="1"/>
          <p:nvPr/>
        </p:nvSpPr>
        <p:spPr>
          <a:xfrm rot="16200000">
            <a:off x="9738659" y="5080830"/>
            <a:ext cx="208443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</a:pPr>
            <a:r>
              <a:rPr lang="cs-CZ" sz="1600" b="1" dirty="0"/>
              <a:t>Uživatelská podpora insourcing</a:t>
            </a:r>
          </a:p>
        </p:txBody>
      </p:sp>
      <p:sp>
        <p:nvSpPr>
          <p:cNvPr id="9" name="Pravoúhlý trojúhelník 8">
            <a:extLst>
              <a:ext uri="{FF2B5EF4-FFF2-40B4-BE49-F238E27FC236}">
                <a16:creationId xmlns:a16="http://schemas.microsoft.com/office/drawing/2014/main" id="{8F06F53E-69FE-4A7F-F960-341FEB2BD815}"/>
              </a:ext>
            </a:extLst>
          </p:cNvPr>
          <p:cNvSpPr/>
          <p:nvPr/>
        </p:nvSpPr>
        <p:spPr bwMode="gray">
          <a:xfrm rot="10800000">
            <a:off x="9696400" y="1484782"/>
            <a:ext cx="2016224" cy="4968554"/>
          </a:xfrm>
          <a:prstGeom prst="rtTriangle">
            <a:avLst/>
          </a:prstGeom>
          <a:gradFill>
            <a:gsLst>
              <a:gs pos="0">
                <a:schemeClr val="accent1">
                  <a:shade val="51000"/>
                  <a:satMod val="130000"/>
                  <a:alpha val="14000"/>
                </a:schemeClr>
              </a:gs>
              <a:gs pos="80000">
                <a:schemeClr val="accent1">
                  <a:shade val="93000"/>
                  <a:satMod val="130000"/>
                </a:schemeClr>
              </a:gs>
              <a:gs pos="100000">
                <a:schemeClr val="accent1">
                  <a:shade val="94000"/>
                  <a:satMod val="135000"/>
                </a:schemeClr>
              </a:gs>
            </a:gsLst>
          </a:gradFill>
          <a:ln>
            <a:solidFill>
              <a:schemeClr val="accent1">
                <a:alpha val="0"/>
              </a:schemeClr>
            </a:solidFill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144000" tIns="72000" rIns="144000" bIns="72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</a:pPr>
            <a:r>
              <a:rPr lang="cs-CZ" sz="1600" b="1" dirty="0">
                <a:solidFill>
                  <a:schemeClr val="accent1">
                    <a:lumMod val="50000"/>
                  </a:schemeClr>
                </a:solidFill>
              </a:rPr>
              <a:t>Uživatelská podpora outsourcing</a:t>
            </a:r>
          </a:p>
        </p:txBody>
      </p:sp>
      <p:sp>
        <p:nvSpPr>
          <p:cNvPr id="17" name="Obdélník 16">
            <a:extLst>
              <a:ext uri="{FF2B5EF4-FFF2-40B4-BE49-F238E27FC236}">
                <a16:creationId xmlns:a16="http://schemas.microsoft.com/office/drawing/2014/main" id="{EF6BDD81-C31D-CD6A-9BF1-5C862456B1FC}"/>
              </a:ext>
            </a:extLst>
          </p:cNvPr>
          <p:cNvSpPr/>
          <p:nvPr/>
        </p:nvSpPr>
        <p:spPr bwMode="gray">
          <a:xfrm>
            <a:off x="9696400" y="1484780"/>
            <a:ext cx="2016224" cy="4968552"/>
          </a:xfrm>
          <a:prstGeom prst="rect">
            <a:avLst/>
          </a:prstGeom>
          <a:noFill/>
          <a:ln cap="sq">
            <a:solidFill>
              <a:srgbClr val="64B42D">
                <a:alpha val="14000"/>
              </a:srgbClr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72000" rIns="144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ctr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cs-CZ" sz="14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118365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text 1">
            <a:extLst>
              <a:ext uri="{FF2B5EF4-FFF2-40B4-BE49-F238E27FC236}">
                <a16:creationId xmlns:a16="http://schemas.microsoft.com/office/drawing/2014/main" id="{82F9C02E-6E50-426A-BD5A-84DF309B4E9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67808" y="548680"/>
            <a:ext cx="7044200" cy="1152128"/>
          </a:xfrm>
        </p:spPr>
        <p:txBody>
          <a:bodyPr lIns="0" tIns="0" rIns="0" bIns="0"/>
          <a:lstStyle/>
          <a:p>
            <a:r>
              <a:rPr lang="cs-CZ" sz="2000" dirty="0"/>
              <a:t>Vytvořme prostředí, kde bude používání automatizačních, robotizačních a AI nástrojů běžnou pracovní činností zaměstnanců bez IT specializace</a:t>
            </a:r>
          </a:p>
        </p:txBody>
      </p:sp>
      <p:sp>
        <p:nvSpPr>
          <p:cNvPr id="3" name="Zástupný symbol pro číslo snímku 2">
            <a:extLst>
              <a:ext uri="{FF2B5EF4-FFF2-40B4-BE49-F238E27FC236}">
                <a16:creationId xmlns:a16="http://schemas.microsoft.com/office/drawing/2014/main" id="{8C3D5206-C693-4510-A78E-91BBFDC9F6A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6545F21-C657-4764-B5B2-92A02BE34E1E}" type="slidenum">
              <a:rPr lang="cs-CZ" smtClean="0"/>
              <a:pPr/>
              <a:t>12</a:t>
            </a:fld>
            <a:endParaRPr lang="cs-CZ">
              <a:latin typeface="+mj-lt"/>
            </a:endParaRPr>
          </a:p>
        </p:txBody>
      </p:sp>
      <p:sp>
        <p:nvSpPr>
          <p:cNvPr id="5" name="Zástupný obsah 4">
            <a:extLst>
              <a:ext uri="{FF2B5EF4-FFF2-40B4-BE49-F238E27FC236}">
                <a16:creationId xmlns:a16="http://schemas.microsoft.com/office/drawing/2014/main" id="{87E35A90-CA44-4E75-AEE4-A4F0AE97B002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367808" y="2020324"/>
            <a:ext cx="7044200" cy="2848836"/>
          </a:xfrm>
        </p:spPr>
        <p:txBody>
          <a:bodyPr/>
          <a:lstStyle/>
          <a:p>
            <a:pPr marL="514350" indent="-514350">
              <a:spcAft>
                <a:spcPts val="1200"/>
              </a:spcAft>
              <a:buFont typeface="+mj-lt"/>
              <a:buAutoNum type="arabicPeriod"/>
            </a:pPr>
            <a:r>
              <a:rPr lang="cs-CZ" sz="2200" dirty="0"/>
              <a:t>Vytipovat „klikaře“ – lidi, které baví hrát si s aplikacemi</a:t>
            </a:r>
          </a:p>
          <a:p>
            <a:pPr marL="514350" indent="-514350">
              <a:spcAft>
                <a:spcPts val="1200"/>
              </a:spcAft>
              <a:buFont typeface="+mj-lt"/>
              <a:buAutoNum type="arabicPeriod"/>
            </a:pPr>
            <a:r>
              <a:rPr lang="cs-CZ" sz="2200" dirty="0"/>
              <a:t>Uvolnit jim kapacitu, poskytnout vzdělání a </a:t>
            </a:r>
            <a:r>
              <a:rPr lang="cs-CZ" sz="2200" dirty="0" err="1"/>
              <a:t>low-code</a:t>
            </a:r>
            <a:r>
              <a:rPr lang="cs-CZ" sz="2200" dirty="0"/>
              <a:t> / no-</a:t>
            </a:r>
            <a:r>
              <a:rPr lang="cs-CZ" sz="2200" dirty="0" err="1"/>
              <a:t>code</a:t>
            </a:r>
            <a:r>
              <a:rPr lang="cs-CZ" sz="2200" dirty="0"/>
              <a:t> nástroje</a:t>
            </a:r>
          </a:p>
          <a:p>
            <a:pPr marL="514350" indent="-514350">
              <a:spcAft>
                <a:spcPts val="1200"/>
              </a:spcAft>
              <a:buFont typeface="+mj-lt"/>
              <a:buAutoNum type="arabicPeriod"/>
            </a:pPr>
            <a:r>
              <a:rPr lang="cs-CZ" sz="2200" dirty="0"/>
              <a:t>Motivovat ostatní zaměstnance sdílením automatizovaných a robotizovaných procesů</a:t>
            </a:r>
          </a:p>
          <a:p>
            <a:pPr marL="514350" indent="-514350">
              <a:spcAft>
                <a:spcPts val="1200"/>
              </a:spcAft>
              <a:buFont typeface="+mj-lt"/>
              <a:buAutoNum type="arabicPeriod"/>
            </a:pPr>
            <a:r>
              <a:rPr lang="cs-CZ" sz="2200" dirty="0"/>
              <a:t>Definovat pravidla s cílem řídit automatizaci, minimalizovat bezpečnostní rizika a existenci </a:t>
            </a:r>
            <a:r>
              <a:rPr lang="cs-CZ" sz="2200" dirty="0" err="1"/>
              <a:t>shadow</a:t>
            </a:r>
            <a:r>
              <a:rPr lang="cs-CZ" sz="2200" dirty="0"/>
              <a:t> IT</a:t>
            </a:r>
          </a:p>
        </p:txBody>
      </p:sp>
      <p:sp>
        <p:nvSpPr>
          <p:cNvPr id="8" name="Nadpis 7">
            <a:extLst>
              <a:ext uri="{FF2B5EF4-FFF2-40B4-BE49-F238E27FC236}">
                <a16:creationId xmlns:a16="http://schemas.microsoft.com/office/drawing/2014/main" id="{BB75BBAA-EDB1-4CB3-A906-FD28D7B2A0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8469" y="1559603"/>
            <a:ext cx="2797485" cy="492443"/>
          </a:xfrm>
        </p:spPr>
        <p:txBody>
          <a:bodyPr/>
          <a:lstStyle/>
          <a:p>
            <a:r>
              <a:rPr lang="cs-CZ" dirty="0"/>
              <a:t>Začněte i vy</a:t>
            </a:r>
          </a:p>
        </p:txBody>
      </p:sp>
      <p:sp>
        <p:nvSpPr>
          <p:cNvPr id="9" name="Zástupný text 1">
            <a:extLst>
              <a:ext uri="{FF2B5EF4-FFF2-40B4-BE49-F238E27FC236}">
                <a16:creationId xmlns:a16="http://schemas.microsoft.com/office/drawing/2014/main" id="{010907F1-75D5-3970-5CFF-FA2E5B4571B0}"/>
              </a:ext>
            </a:extLst>
          </p:cNvPr>
          <p:cNvSpPr txBox="1">
            <a:spLocks/>
          </p:cNvSpPr>
          <p:nvPr/>
        </p:nvSpPr>
        <p:spPr>
          <a:xfrm>
            <a:off x="4871864" y="5517232"/>
            <a:ext cx="6120680" cy="779174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400"/>
              </a:spcAft>
              <a:buFont typeface="Arial" pitchFamily="34" charset="0"/>
              <a:buNone/>
              <a:defRPr sz="3600" kern="120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324000" indent="-324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24000" indent="-324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76000" indent="-288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6000" indent="-288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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600"/>
              </a:spcAft>
            </a:pPr>
            <a:r>
              <a:rPr lang="cs-CZ" sz="2200" b="1" i="1" dirty="0">
                <a:latin typeface="72 Brand" panose="020B0504030603020204" pitchFamily="34" charset="0"/>
              </a:rPr>
              <a:t>Znalost automatizace se stává kvalifikačním kritériem při náboru zaměstnanců</a:t>
            </a:r>
          </a:p>
        </p:txBody>
      </p:sp>
    </p:spTree>
    <p:extLst>
      <p:ext uri="{BB962C8B-B14F-4D97-AF65-F5344CB8AC3E}">
        <p14:creationId xmlns:p14="http://schemas.microsoft.com/office/powerpoint/2010/main" val="360041846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BFED723-47C4-43B7-93EE-25DC8DBFCD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416" y="3501008"/>
            <a:ext cx="6408712" cy="1512168"/>
          </a:xfrm>
        </p:spPr>
        <p:txBody>
          <a:bodyPr/>
          <a:lstStyle/>
          <a:p>
            <a:r>
              <a:rPr lang="cs-CZ" dirty="0"/>
              <a:t>…když to běhá samo</a:t>
            </a:r>
          </a:p>
        </p:txBody>
      </p:sp>
      <p:sp>
        <p:nvSpPr>
          <p:cNvPr id="3" name="Zástupný symbol pro číslo snímku 2">
            <a:extLst>
              <a:ext uri="{FF2B5EF4-FFF2-40B4-BE49-F238E27FC236}">
                <a16:creationId xmlns:a16="http://schemas.microsoft.com/office/drawing/2014/main" id="{D3B02093-4285-4EE7-B032-4F4FAD79536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6545F21-C657-4764-B5B2-92A02BE34E1E}" type="slidenum">
              <a:rPr lang="cs-CZ" smtClean="0"/>
              <a:pPr/>
              <a:t>1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34476341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text 5">
            <a:extLst>
              <a:ext uri="{FF2B5EF4-FFF2-40B4-BE49-F238E27FC236}">
                <a16:creationId xmlns:a16="http://schemas.microsoft.com/office/drawing/2014/main" id="{7C4E4BB0-05E4-48F2-827B-2DFA2B19E8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 lIns="0" tIns="0" rIns="0" bIns="0"/>
          <a:lstStyle/>
          <a:p>
            <a:r>
              <a:rPr lang="cs-CZ" sz="3200" dirty="0"/>
              <a:t>Ukázky procesů</a:t>
            </a:r>
          </a:p>
        </p:txBody>
      </p:sp>
      <p:sp>
        <p:nvSpPr>
          <p:cNvPr id="14" name="Zástupný obsah 13">
            <a:extLst>
              <a:ext uri="{FF2B5EF4-FFF2-40B4-BE49-F238E27FC236}">
                <a16:creationId xmlns:a16="http://schemas.microsoft.com/office/drawing/2014/main" id="{D8722A74-A0DE-4512-89AF-1EB84A7E58EF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839416" y="1998051"/>
            <a:ext cx="10294719" cy="4104392"/>
          </a:xfrm>
        </p:spPr>
        <p:txBody>
          <a:bodyPr/>
          <a:lstStyle/>
          <a:p>
            <a:pPr marL="342900" lvl="1" indent="-342900">
              <a:spcAft>
                <a:spcPts val="1800"/>
              </a:spcAft>
              <a:buFont typeface="+mj-lt"/>
              <a:buAutoNum type="arabicPeriod"/>
            </a:pPr>
            <a:r>
              <a:rPr lang="cs-CZ" sz="2400" b="1" dirty="0"/>
              <a:t>Registr smluv – upozornění nákupčích na povinnost zveřejnit objednávku</a:t>
            </a:r>
          </a:p>
          <a:p>
            <a:pPr marL="342900" lvl="1" indent="-342900">
              <a:spcAft>
                <a:spcPts val="1800"/>
              </a:spcAft>
              <a:buFont typeface="+mj-lt"/>
              <a:buAutoNum type="arabicPeriod"/>
            </a:pPr>
            <a:r>
              <a:rPr lang="cs-CZ" sz="2400" b="1" dirty="0"/>
              <a:t>Povinné subjekty – pravidelný monitoring KZOP</a:t>
            </a:r>
          </a:p>
          <a:p>
            <a:pPr marL="342900" lvl="1" indent="-342900">
              <a:spcAft>
                <a:spcPts val="1800"/>
              </a:spcAft>
              <a:buFont typeface="+mj-lt"/>
              <a:buAutoNum type="arabicPeriod"/>
            </a:pPr>
            <a:r>
              <a:rPr lang="cs-CZ" sz="2400" b="1" dirty="0"/>
              <a:t>Zpracování datových zpráv</a:t>
            </a:r>
          </a:p>
          <a:p>
            <a:pPr marL="342900" lvl="1" indent="-342900">
              <a:spcAft>
                <a:spcPts val="1800"/>
              </a:spcAft>
              <a:buFont typeface="+mj-lt"/>
              <a:buAutoNum type="arabicPeriod"/>
            </a:pPr>
            <a:r>
              <a:rPr lang="cs-CZ" sz="2400" b="1" dirty="0"/>
              <a:t>Hromadné vytváření dokumentů – vyplňování šablon / vzorových dokumentů</a:t>
            </a:r>
          </a:p>
          <a:p>
            <a:pPr marL="342900" lvl="1" indent="-342900">
              <a:spcAft>
                <a:spcPts val="1800"/>
              </a:spcAft>
              <a:buFont typeface="+mj-lt"/>
              <a:buAutoNum type="arabicPeriod"/>
            </a:pPr>
            <a:r>
              <a:rPr lang="cs-CZ" sz="2400" b="1" dirty="0"/>
              <a:t>Hromadná změna dat v systémech / aplikacích</a:t>
            </a:r>
          </a:p>
          <a:p>
            <a:pPr marL="342900" lvl="1" indent="-342900">
              <a:spcAft>
                <a:spcPts val="1800"/>
              </a:spcAft>
              <a:buFont typeface="+mj-lt"/>
              <a:buAutoNum type="arabicPeriod"/>
            </a:pPr>
            <a:r>
              <a:rPr lang="cs-CZ" sz="2400" b="1" dirty="0"/>
              <a:t>Pravidelné stahování dat</a:t>
            </a:r>
          </a:p>
        </p:txBody>
      </p:sp>
      <p:sp>
        <p:nvSpPr>
          <p:cNvPr id="21" name="Zástupný symbol pro číslo snímku 20">
            <a:extLst>
              <a:ext uri="{FF2B5EF4-FFF2-40B4-BE49-F238E27FC236}">
                <a16:creationId xmlns:a16="http://schemas.microsoft.com/office/drawing/2014/main" id="{11B9916C-FE2D-4AED-B527-F52B889B3E2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6545F21-C657-4764-B5B2-92A02BE34E1E}" type="slidenum">
              <a:rPr lang="cs-CZ" smtClean="0"/>
              <a:pPr/>
              <a:t>1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8303086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"/>
          <p:cNvSpPr>
            <a:spLocks noGrp="1"/>
          </p:cNvSpPr>
          <p:nvPr>
            <p:ph type="title" idx="4294967295"/>
          </p:nvPr>
        </p:nvSpPr>
        <p:spPr bwMode="gray">
          <a:xfrm>
            <a:off x="453794" y="393599"/>
            <a:ext cx="11183938" cy="875161"/>
          </a:xfrm>
        </p:spPr>
        <p:txBody>
          <a:bodyPr/>
          <a:lstStyle/>
          <a:p>
            <a:pPr>
              <a:spcBef>
                <a:spcPts val="600"/>
              </a:spcBef>
            </a:pPr>
            <a:r>
              <a:rPr lang="cs-CZ" sz="3200" dirty="0"/>
              <a:t>1. Registr smluv – upozornění nákupčích na povinnost zveřejnit objednávku</a:t>
            </a:r>
            <a:endParaRPr lang="en-CZ" sz="320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3B76FA9-F0A5-4FD8-3631-D31BF0B3F9D2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547994" y="1512565"/>
            <a:ext cx="4203700" cy="260251"/>
          </a:xfrm>
        </p:spPr>
        <p:txBody>
          <a:bodyPr/>
          <a:lstStyle/>
          <a:p>
            <a:pPr>
              <a:spcBef>
                <a:spcPts val="600"/>
              </a:spcBef>
            </a:pPr>
            <a:r>
              <a:rPr lang="cs-CZ" sz="1600" b="1" dirty="0" err="1"/>
              <a:t>Low-code</a:t>
            </a:r>
            <a:r>
              <a:rPr lang="cs-CZ" sz="1600" b="1" dirty="0"/>
              <a:t> / no-</a:t>
            </a:r>
            <a:r>
              <a:rPr lang="cs-CZ" sz="1600" b="1" dirty="0" err="1"/>
              <a:t>code</a:t>
            </a:r>
            <a:r>
              <a:rPr lang="cs-CZ" sz="1600" b="1" dirty="0"/>
              <a:t> nástroj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ED73500A-1872-D8A8-C9DC-32DF67272440}"/>
              </a:ext>
            </a:extLst>
          </p:cNvPr>
          <p:cNvSpPr txBox="1">
            <a:spLocks/>
          </p:cNvSpPr>
          <p:nvPr/>
        </p:nvSpPr>
        <p:spPr bwMode="black">
          <a:xfrm>
            <a:off x="671084" y="2060848"/>
            <a:ext cx="8161220" cy="172124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Tx/>
              <a:buSzPct val="80000"/>
              <a:buFont typeface="72 Brand" panose="02000000000000000000" pitchFamily="2" charset="0"/>
              <a:buChar char="​"/>
              <a:defRPr sz="2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b="0" i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80000"/>
              <a:buFont typeface="Courier New" panose="02070309020205020404" pitchFamily="49" charset="0"/>
              <a:buChar char="o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856" indent="-179964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sz="1400" b="0" i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  <a:buNone/>
            </a:pPr>
            <a:r>
              <a:rPr lang="cs-CZ" sz="1600" b="1" dirty="0"/>
              <a:t>Proces:</a:t>
            </a:r>
          </a:p>
          <a:p>
            <a:pPr marL="342797" indent="-342797">
              <a:spcBef>
                <a:spcPts val="600"/>
              </a:spcBef>
              <a:buSzPct val="100000"/>
              <a:buFont typeface="+mj-lt"/>
              <a:buAutoNum type="arabicPeriod"/>
            </a:pPr>
            <a:r>
              <a:rPr lang="cs-CZ" sz="1600" dirty="0"/>
              <a:t>Nalezení dodavatelů s povinností zveřejňovat smlouvy v registru smluv</a:t>
            </a:r>
          </a:p>
          <a:p>
            <a:pPr marL="342797" indent="-342797">
              <a:spcBef>
                <a:spcPts val="600"/>
              </a:spcBef>
              <a:buSzPct val="100000"/>
              <a:buFont typeface="+mj-lt"/>
              <a:buAutoNum type="arabicPeriod"/>
            </a:pPr>
            <a:r>
              <a:rPr lang="cs-CZ" sz="1600" dirty="0"/>
              <a:t>Nalezení objednávek s hodnotou přesahující 50 tisíc</a:t>
            </a:r>
          </a:p>
          <a:p>
            <a:pPr marL="342797" indent="-342797">
              <a:spcBef>
                <a:spcPts val="600"/>
              </a:spcBef>
              <a:buSzPct val="100000"/>
              <a:buFont typeface="+mj-lt"/>
              <a:buAutoNum type="arabicPeriod"/>
            </a:pPr>
            <a:r>
              <a:rPr lang="cs-CZ" sz="1600" dirty="0"/>
              <a:t>Spárování informací</a:t>
            </a:r>
          </a:p>
          <a:p>
            <a:pPr marL="342797" indent="-342797">
              <a:spcBef>
                <a:spcPts val="600"/>
              </a:spcBef>
              <a:buSzPct val="100000"/>
              <a:buFont typeface="+mj-lt"/>
              <a:buAutoNum type="arabicPeriod"/>
            </a:pPr>
            <a:r>
              <a:rPr lang="cs-CZ" sz="1600" dirty="0"/>
              <a:t>Zaslání emailového upozornění dotčeným nákupčím</a:t>
            </a:r>
            <a:endParaRPr lang="en-US" sz="1600" dirty="0"/>
          </a:p>
        </p:txBody>
      </p:sp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9" name="Náhled snímku 8">
                <a:extLst>
                  <a:ext uri="{FF2B5EF4-FFF2-40B4-BE49-F238E27FC236}">
                    <a16:creationId xmlns:a16="http://schemas.microsoft.com/office/drawing/2014/main" id="{A7EA9C1E-457D-0606-C1ED-F0D44FD3CBE3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2787926081"/>
                  </p:ext>
                </p:extLst>
              </p:nvPr>
            </p:nvGraphicFramePr>
            <p:xfrm>
              <a:off x="655777" y="4053920"/>
              <a:ext cx="3497543" cy="1967368"/>
            </p:xfrm>
            <a:graphic>
              <a:graphicData uri="http://schemas.microsoft.com/office/powerpoint/2016/slidezoom">
                <pslz:sldZm>
                  <pslz:sldZmObj sldId="2147483587" cId="3958166420">
                    <pslz:zmPr id="{2B32F7FA-A61C-4AAF-AFE6-49E517710435}" returnToParent="0" transitionDur="1000">
                      <p166:blipFill xmlns:p166="http://schemas.microsoft.com/office/powerpoint/2016/6/main">
                        <a:blip r:embed="rId5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3497543" cy="1967368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9" name="Náhled snímku 8">
                <a:extLst>
                  <a:ext uri="{FF2B5EF4-FFF2-40B4-BE49-F238E27FC236}">
                    <a16:creationId xmlns:a16="http://schemas.microsoft.com/office/drawing/2014/main" id="{A7EA9C1E-457D-0606-C1ED-F0D44FD3CBE3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655777" y="4053920"/>
                <a:ext cx="3497543" cy="1967368"/>
              </a:xfrm>
              <a:prstGeom prst="rect">
                <a:avLst/>
              </a:prstGeom>
              <a:ln w="3175">
                <a:solidFill>
                  <a:prstClr val="ltGray"/>
                </a:solidFill>
              </a:ln>
            </p:spPr>
          </p:pic>
        </mc:Fallback>
      </mc:AlternateContent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12" name="Náhled snímku 11">
                <a:extLst>
                  <a:ext uri="{FF2B5EF4-FFF2-40B4-BE49-F238E27FC236}">
                    <a16:creationId xmlns:a16="http://schemas.microsoft.com/office/drawing/2014/main" id="{FD552272-9408-991A-F91F-57F4EC20F333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3691916119"/>
                  </p:ext>
                </p:extLst>
              </p:nvPr>
            </p:nvGraphicFramePr>
            <p:xfrm>
              <a:off x="4327417" y="4053920"/>
              <a:ext cx="3497543" cy="1967368"/>
            </p:xfrm>
            <a:graphic>
              <a:graphicData uri="http://schemas.microsoft.com/office/powerpoint/2016/slidezoom">
                <pslz:sldZm>
                  <pslz:sldZmObj sldId="2147483588" cId="413524710">
                    <pslz:zmPr id="{F4729D93-6621-4239-905A-4E3BFF496A82}" returnToParent="0" transitionDur="1000">
                      <p166:blipFill xmlns:p166="http://schemas.microsoft.com/office/powerpoint/2016/6/main">
                        <a:blip r:embed="rId7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3497543" cy="1967368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12" name="Náhled snímku 11">
                <a:extLst>
                  <a:ext uri="{FF2B5EF4-FFF2-40B4-BE49-F238E27FC236}">
                    <a16:creationId xmlns:a16="http://schemas.microsoft.com/office/drawing/2014/main" id="{FD552272-9408-991A-F91F-57F4EC20F333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4327417" y="4053920"/>
                <a:ext cx="3497543" cy="1967368"/>
              </a:xfrm>
              <a:prstGeom prst="rect">
                <a:avLst/>
              </a:prstGeom>
              <a:ln w="3175">
                <a:solidFill>
                  <a:prstClr val="ltGray"/>
                </a:solidFill>
              </a:ln>
            </p:spPr>
          </p:pic>
        </mc:Fallback>
      </mc:AlternateContent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14" name="Náhled snímku 13">
                <a:extLst>
                  <a:ext uri="{FF2B5EF4-FFF2-40B4-BE49-F238E27FC236}">
                    <a16:creationId xmlns:a16="http://schemas.microsoft.com/office/drawing/2014/main" id="{D6163882-3AB9-847B-892B-61136D563664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1090068165"/>
                  </p:ext>
                </p:extLst>
              </p:nvPr>
            </p:nvGraphicFramePr>
            <p:xfrm>
              <a:off x="7999057" y="4053920"/>
              <a:ext cx="3497543" cy="1967368"/>
            </p:xfrm>
            <a:graphic>
              <a:graphicData uri="http://schemas.microsoft.com/office/powerpoint/2016/slidezoom">
                <pslz:sldZm>
                  <pslz:sldZmObj sldId="2147483589" cId="3198726984">
                    <pslz:zmPr id="{AB3BB13E-165E-4EEC-B685-3C64EFC364AC}" returnToParent="0" transitionDur="1000">
                      <p166:blipFill xmlns:p166="http://schemas.microsoft.com/office/powerpoint/2016/6/main">
                        <a:blip r:embed="rId9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3497543" cy="1967368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14" name="Náhled snímku 13">
                <a:extLst>
                  <a:ext uri="{FF2B5EF4-FFF2-40B4-BE49-F238E27FC236}">
                    <a16:creationId xmlns:a16="http://schemas.microsoft.com/office/drawing/2014/main" id="{D6163882-3AB9-847B-892B-61136D563664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7999057" y="4053920"/>
                <a:ext cx="3497543" cy="1967368"/>
              </a:xfrm>
              <a:prstGeom prst="rect">
                <a:avLst/>
              </a:prstGeom>
              <a:ln w="3175">
                <a:solidFill>
                  <a:prstClr val="ltGray"/>
                </a:solidFill>
              </a:ln>
            </p:spPr>
          </p:pic>
        </mc:Fallback>
      </mc:AlternateContent>
    </p:spTree>
    <p:custDataLst>
      <p:custData r:id="rId2"/>
      <p:custData r:id="rId3"/>
    </p:custDataLst>
    <p:extLst>
      <p:ext uri="{BB962C8B-B14F-4D97-AF65-F5344CB8AC3E}">
        <p14:creationId xmlns:p14="http://schemas.microsoft.com/office/powerpoint/2010/main" val="30815727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 advTm="0"/>
    </mc:Choice>
    <mc:Fallback xmlns="">
      <p:transition advTm="0"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Zástupný obsah 5">
            <a:extLst>
              <a:ext uri="{FF2B5EF4-FFF2-40B4-BE49-F238E27FC236}">
                <a16:creationId xmlns:a16="http://schemas.microsoft.com/office/drawing/2014/main" id="{C66F34A1-46A9-7D57-8F60-8E822C721DA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957492" y="1132818"/>
            <a:ext cx="8277016" cy="5220421"/>
          </a:xfrm>
          <a:prstGeom prst="rect">
            <a:avLst/>
          </a:prstGeom>
        </p:spPr>
      </p:pic>
      <p:sp>
        <p:nvSpPr>
          <p:cNvPr id="11" name="Title">
            <a:extLst>
              <a:ext uri="{FF2B5EF4-FFF2-40B4-BE49-F238E27FC236}">
                <a16:creationId xmlns:a16="http://schemas.microsoft.com/office/drawing/2014/main" id="{BF229B08-066C-D4E9-CF30-AA2B50309793}"/>
              </a:ext>
            </a:extLst>
          </p:cNvPr>
          <p:cNvSpPr>
            <a:spLocks noGrp="1"/>
          </p:cNvSpPr>
          <p:nvPr>
            <p:ph type="title" idx="4294967295"/>
          </p:nvPr>
        </p:nvSpPr>
        <p:spPr bwMode="gray">
          <a:xfrm>
            <a:off x="479376" y="504825"/>
            <a:ext cx="10416480" cy="369888"/>
          </a:xfrm>
        </p:spPr>
        <p:txBody>
          <a:bodyPr/>
          <a:lstStyle/>
          <a:p>
            <a:r>
              <a:rPr lang="cs-CZ" sz="3200" dirty="0"/>
              <a:t>Seznam dodavatelů s povinností zveřejňovat smlouvy</a:t>
            </a:r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3958166420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4"/>
    </p:ext>
  </p:extLs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"/>
          <p:cNvSpPr>
            <a:spLocks noGrp="1"/>
          </p:cNvSpPr>
          <p:nvPr>
            <p:ph type="title" idx="4294967295"/>
          </p:nvPr>
        </p:nvSpPr>
        <p:spPr bwMode="gray">
          <a:xfrm>
            <a:off x="479376" y="504825"/>
            <a:ext cx="9192344" cy="369888"/>
          </a:xfrm>
        </p:spPr>
        <p:txBody>
          <a:bodyPr/>
          <a:lstStyle/>
          <a:p>
            <a:r>
              <a:rPr lang="cs-CZ" sz="3200" dirty="0"/>
              <a:t>Stažení objednávek nad 50 tisíc</a:t>
            </a:r>
          </a:p>
        </p:txBody>
      </p:sp>
      <p:pic>
        <p:nvPicPr>
          <p:cNvPr id="7" name="Obrázek 6">
            <a:extLst>
              <a:ext uri="{FF2B5EF4-FFF2-40B4-BE49-F238E27FC236}">
                <a16:creationId xmlns:a16="http://schemas.microsoft.com/office/drawing/2014/main" id="{FB432478-558F-CB9B-215C-1DA12D728A7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2080" y="2185705"/>
            <a:ext cx="10847841" cy="2486590"/>
          </a:xfrm>
          <a:prstGeom prst="rect">
            <a:avLst/>
          </a:prstGeom>
        </p:spPr>
      </p:pic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41352471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Zástupný obsah 3">
            <a:extLst>
              <a:ext uri="{FF2B5EF4-FFF2-40B4-BE49-F238E27FC236}">
                <a16:creationId xmlns:a16="http://schemas.microsoft.com/office/drawing/2014/main" id="{B5FBD246-6C67-DA0F-CB8B-D54FAC65035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10766" y="1316456"/>
            <a:ext cx="9170469" cy="5036783"/>
          </a:xfrm>
          <a:prstGeom prst="rect">
            <a:avLst/>
          </a:prstGeom>
        </p:spPr>
      </p:pic>
      <p:sp>
        <p:nvSpPr>
          <p:cNvPr id="12" name="Title">
            <a:extLst>
              <a:ext uri="{FF2B5EF4-FFF2-40B4-BE49-F238E27FC236}">
                <a16:creationId xmlns:a16="http://schemas.microsoft.com/office/drawing/2014/main" id="{4757B15F-F973-4F1D-EE8F-BF362543652D}"/>
              </a:ext>
            </a:extLst>
          </p:cNvPr>
          <p:cNvSpPr>
            <a:spLocks noGrp="1"/>
          </p:cNvSpPr>
          <p:nvPr>
            <p:ph type="title" idx="4294967295"/>
          </p:nvPr>
        </p:nvSpPr>
        <p:spPr bwMode="gray">
          <a:xfrm>
            <a:off x="432048" y="504825"/>
            <a:ext cx="9984432" cy="369888"/>
          </a:xfrm>
        </p:spPr>
        <p:txBody>
          <a:bodyPr/>
          <a:lstStyle/>
          <a:p>
            <a:r>
              <a:rPr lang="cs-CZ" sz="3200" dirty="0"/>
              <a:t>Zaslání emailového upozornění dotčeným nákupčím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EF05CD0-93AE-8251-A265-7A40AD381047}"/>
              </a:ext>
            </a:extLst>
          </p:cNvPr>
          <p:cNvSpPr/>
          <p:nvPr/>
        </p:nvSpPr>
        <p:spPr bwMode="gray">
          <a:xfrm>
            <a:off x="2336394" y="1851175"/>
            <a:ext cx="457082" cy="123636"/>
          </a:xfrm>
          <a:prstGeom prst="rect">
            <a:avLst/>
          </a:prstGeom>
          <a:solidFill>
            <a:schemeClr val="tx1"/>
          </a:solidFill>
          <a:ln w="25400" algn="ctr">
            <a:solidFill>
              <a:schemeClr val="tx1"/>
            </a:solidFill>
            <a:miter lim="800000"/>
            <a:headEnd/>
            <a:tailEnd/>
          </a:ln>
        </p:spPr>
        <p:txBody>
          <a:bodyPr lIns="89977" tIns="71981" rIns="89977" bIns="71981" rtlCol="0" anchor="ctr"/>
          <a:lstStyle/>
          <a:p>
            <a:pPr algn="ctr" defTabSz="914126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US" sz="1799" kern="0" dirty="0">
              <a:ea typeface="72 Brand" pitchFamily="34" charset="-128"/>
              <a:cs typeface="72 Brand" pitchFamily="34" charset="-128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44292F9-C6AC-D513-5E35-C190A7AC87C8}"/>
              </a:ext>
            </a:extLst>
          </p:cNvPr>
          <p:cNvSpPr/>
          <p:nvPr/>
        </p:nvSpPr>
        <p:spPr bwMode="gray">
          <a:xfrm>
            <a:off x="2034387" y="1705581"/>
            <a:ext cx="457081" cy="123636"/>
          </a:xfrm>
          <a:prstGeom prst="rect">
            <a:avLst/>
          </a:prstGeom>
          <a:solidFill>
            <a:schemeClr val="tx1"/>
          </a:solidFill>
          <a:ln w="25400" algn="ctr">
            <a:solidFill>
              <a:schemeClr val="tx1"/>
            </a:solidFill>
            <a:miter lim="800000"/>
            <a:headEnd/>
            <a:tailEnd/>
          </a:ln>
        </p:spPr>
        <p:txBody>
          <a:bodyPr lIns="89977" tIns="71981" rIns="89977" bIns="71981" rtlCol="0" anchor="ctr"/>
          <a:lstStyle/>
          <a:p>
            <a:pPr algn="ctr" defTabSz="914126" fontAlgn="base"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</a:pPr>
            <a:endParaRPr lang="en-US" sz="1799" kern="0" dirty="0">
              <a:ea typeface="72 Brand" pitchFamily="34" charset="-128"/>
              <a:cs typeface="72 Brand" pitchFamily="34" charset="-128"/>
            </a:endParaRPr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319872698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"/>
          <p:cNvSpPr>
            <a:spLocks noGrp="1"/>
          </p:cNvSpPr>
          <p:nvPr>
            <p:ph type="title" idx="4294967295"/>
          </p:nvPr>
        </p:nvSpPr>
        <p:spPr bwMode="gray">
          <a:xfrm>
            <a:off x="453794" y="393599"/>
            <a:ext cx="11183938" cy="875161"/>
          </a:xfrm>
        </p:spPr>
        <p:txBody>
          <a:bodyPr/>
          <a:lstStyle/>
          <a:p>
            <a:pPr>
              <a:spcBef>
                <a:spcPts val="600"/>
              </a:spcBef>
            </a:pPr>
            <a:r>
              <a:rPr lang="cs-CZ" sz="3200" dirty="0"/>
              <a:t>2. Povinné subjekty – pravidelný monitoring KZOP</a:t>
            </a:r>
            <a:endParaRPr lang="en-CZ" sz="320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3B76FA9-F0A5-4FD8-3631-D31BF0B3F9D2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547994" y="1512565"/>
            <a:ext cx="4203700" cy="260251"/>
          </a:xfrm>
        </p:spPr>
        <p:txBody>
          <a:bodyPr/>
          <a:lstStyle/>
          <a:p>
            <a:pPr>
              <a:spcBef>
                <a:spcPts val="600"/>
              </a:spcBef>
            </a:pPr>
            <a:r>
              <a:rPr lang="cs-CZ" sz="1600" b="1" dirty="0" err="1"/>
              <a:t>Low-code</a:t>
            </a:r>
            <a:r>
              <a:rPr lang="cs-CZ" sz="1600" b="1" dirty="0"/>
              <a:t> / no-</a:t>
            </a:r>
            <a:r>
              <a:rPr lang="cs-CZ" sz="1600" b="1" dirty="0" err="1"/>
              <a:t>code</a:t>
            </a:r>
            <a:r>
              <a:rPr lang="cs-CZ" sz="1600" b="1" dirty="0"/>
              <a:t> nástroj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ED73500A-1872-D8A8-C9DC-32DF67272440}"/>
              </a:ext>
            </a:extLst>
          </p:cNvPr>
          <p:cNvSpPr txBox="1">
            <a:spLocks/>
          </p:cNvSpPr>
          <p:nvPr/>
        </p:nvSpPr>
        <p:spPr bwMode="black">
          <a:xfrm>
            <a:off x="671084" y="2060848"/>
            <a:ext cx="8161220" cy="172124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Tx/>
              <a:buSzPct val="80000"/>
              <a:buFont typeface="72 Brand" panose="02000000000000000000" pitchFamily="2" charset="0"/>
              <a:buChar char="​"/>
              <a:defRPr sz="2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b="0" i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80000"/>
              <a:buFont typeface="Courier New" panose="02070309020205020404" pitchFamily="49" charset="0"/>
              <a:buChar char="o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856" indent="-179964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sz="1400" b="0" i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  <a:buNone/>
            </a:pPr>
            <a:r>
              <a:rPr lang="cs-CZ" sz="1600" b="1" dirty="0"/>
              <a:t>Proces:</a:t>
            </a:r>
          </a:p>
          <a:p>
            <a:pPr marL="342797" indent="-342797">
              <a:spcBef>
                <a:spcPts val="600"/>
              </a:spcBef>
              <a:buSzPct val="100000"/>
              <a:buFont typeface="+mj-lt"/>
              <a:buAutoNum type="arabicPeriod"/>
            </a:pPr>
            <a:r>
              <a:rPr lang="cs-CZ" sz="1600" dirty="0"/>
              <a:t>Stažení dat z externí aplikace ve formátu CSV</a:t>
            </a:r>
          </a:p>
          <a:p>
            <a:pPr marL="342797" indent="-342797">
              <a:spcBef>
                <a:spcPts val="600"/>
              </a:spcBef>
              <a:buSzPct val="100000"/>
              <a:buFont typeface="+mj-lt"/>
              <a:buAutoNum type="arabicPeriod"/>
            </a:pPr>
            <a:r>
              <a:rPr lang="cs-CZ" sz="1600" dirty="0"/>
              <a:t>Stažení dat z interní databáze obchodních partnerů</a:t>
            </a:r>
          </a:p>
          <a:p>
            <a:pPr marL="342797" indent="-342797">
              <a:spcBef>
                <a:spcPts val="600"/>
              </a:spcBef>
              <a:buSzPct val="100000"/>
              <a:buFont typeface="+mj-lt"/>
              <a:buAutoNum type="arabicPeriod"/>
            </a:pPr>
            <a:r>
              <a:rPr lang="cs-CZ" sz="1600" dirty="0"/>
              <a:t>Vytvoření importního souboru pro aktualizaci kmenových záznamů obchodních partnerů v interním systému</a:t>
            </a:r>
            <a:endParaRPr lang="en-US" sz="1600" dirty="0"/>
          </a:p>
        </p:txBody>
      </p:sp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3" name="Náhled snímku 2">
                <a:extLst>
                  <a:ext uri="{FF2B5EF4-FFF2-40B4-BE49-F238E27FC236}">
                    <a16:creationId xmlns:a16="http://schemas.microsoft.com/office/drawing/2014/main" id="{3F84C80D-87C2-39AA-B05D-15668A87D3CF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1724105892"/>
                  </p:ext>
                </p:extLst>
              </p:nvPr>
            </p:nvGraphicFramePr>
            <p:xfrm>
              <a:off x="528222" y="4083919"/>
              <a:ext cx="3560057" cy="2002532"/>
            </p:xfrm>
            <a:graphic>
              <a:graphicData uri="http://schemas.microsoft.com/office/powerpoint/2016/slidezoom">
                <pslz:sldZm>
                  <pslz:sldZmObj sldId="2147483591" cId="1808912403">
                    <pslz:zmPr id="{57F947B2-ED35-421E-9EA8-C5046C8E0EDE}" returnToParent="0" transitionDur="1000">
                      <p166:blipFill xmlns:p166="http://schemas.microsoft.com/office/powerpoint/2016/6/main">
                        <a:blip r:embed="rId5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3560057" cy="2002532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3" name="Náhled snímku 2">
                <a:extLst>
                  <a:ext uri="{FF2B5EF4-FFF2-40B4-BE49-F238E27FC236}">
                    <a16:creationId xmlns:a16="http://schemas.microsoft.com/office/drawing/2014/main" id="{3F84C80D-87C2-39AA-B05D-15668A87D3CF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528222" y="4083919"/>
                <a:ext cx="3560057" cy="2002532"/>
              </a:xfrm>
              <a:prstGeom prst="rect">
                <a:avLst/>
              </a:prstGeom>
              <a:ln w="3175">
                <a:solidFill>
                  <a:prstClr val="ltGray"/>
                </a:solidFill>
              </a:ln>
            </p:spPr>
          </p:pic>
        </mc:Fallback>
      </mc:AlternateContent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7" name="Náhled snímku 6">
                <a:extLst>
                  <a:ext uri="{FF2B5EF4-FFF2-40B4-BE49-F238E27FC236}">
                    <a16:creationId xmlns:a16="http://schemas.microsoft.com/office/drawing/2014/main" id="{D7F12BD2-E354-2165-B663-B0CD9AE436D3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4199889953"/>
                  </p:ext>
                </p:extLst>
              </p:nvPr>
            </p:nvGraphicFramePr>
            <p:xfrm>
              <a:off x="4238329" y="4083919"/>
              <a:ext cx="3560057" cy="2002532"/>
            </p:xfrm>
            <a:graphic>
              <a:graphicData uri="http://schemas.microsoft.com/office/powerpoint/2016/slidezoom">
                <pslz:sldZm>
                  <pslz:sldZmObj sldId="2147483592" cId="3382971070">
                    <pslz:zmPr id="{EF6AD335-B226-4A3C-8E8F-97524D90B773}" returnToParent="0" transitionDur="1000">
                      <p166:blipFill xmlns:p166="http://schemas.microsoft.com/office/powerpoint/2016/6/main">
                        <a:blip r:embed="rId7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3560057" cy="2002532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7" name="Náhled snímku 6">
                <a:extLst>
                  <a:ext uri="{FF2B5EF4-FFF2-40B4-BE49-F238E27FC236}">
                    <a16:creationId xmlns:a16="http://schemas.microsoft.com/office/drawing/2014/main" id="{D7F12BD2-E354-2165-B663-B0CD9AE436D3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4238329" y="4083919"/>
                <a:ext cx="3560057" cy="2002532"/>
              </a:xfrm>
              <a:prstGeom prst="rect">
                <a:avLst/>
              </a:prstGeom>
              <a:ln w="3175">
                <a:solidFill>
                  <a:prstClr val="ltGray"/>
                </a:solidFill>
              </a:ln>
            </p:spPr>
          </p:pic>
        </mc:Fallback>
      </mc:AlternateContent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10" name="Náhled snímku 9">
                <a:extLst>
                  <a:ext uri="{FF2B5EF4-FFF2-40B4-BE49-F238E27FC236}">
                    <a16:creationId xmlns:a16="http://schemas.microsoft.com/office/drawing/2014/main" id="{5AB19A99-2CCA-DE87-D8AE-EC16D6FDD902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1094242327"/>
                  </p:ext>
                </p:extLst>
              </p:nvPr>
            </p:nvGraphicFramePr>
            <p:xfrm>
              <a:off x="7948436" y="4083919"/>
              <a:ext cx="3560057" cy="2002532"/>
            </p:xfrm>
            <a:graphic>
              <a:graphicData uri="http://schemas.microsoft.com/office/powerpoint/2016/slidezoom">
                <pslz:sldZm>
                  <pslz:sldZmObj sldId="2147483593" cId="1072487974">
                    <pslz:zmPr id="{3119E7DC-8DCA-47C0-8C92-DDC8A3BFE7FC}" returnToParent="0" transitionDur="1000">
                      <p166:blipFill xmlns:p166="http://schemas.microsoft.com/office/powerpoint/2016/6/main">
                        <a:blip r:embed="rId9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3560057" cy="2002532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10" name="Náhled snímku 9">
                <a:extLst>
                  <a:ext uri="{FF2B5EF4-FFF2-40B4-BE49-F238E27FC236}">
                    <a16:creationId xmlns:a16="http://schemas.microsoft.com/office/drawing/2014/main" id="{5AB19A99-2CCA-DE87-D8AE-EC16D6FDD902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7948436" y="4083919"/>
                <a:ext cx="3560057" cy="2002532"/>
              </a:xfrm>
              <a:prstGeom prst="rect">
                <a:avLst/>
              </a:prstGeom>
              <a:ln w="3175">
                <a:solidFill>
                  <a:prstClr val="ltGray"/>
                </a:solidFill>
              </a:ln>
            </p:spPr>
          </p:pic>
        </mc:Fallback>
      </mc:AlternateContent>
    </p:spTree>
    <p:custDataLst>
      <p:custData r:id="rId2"/>
      <p:custData r:id="rId3"/>
    </p:custDataLst>
    <p:extLst>
      <p:ext uri="{BB962C8B-B14F-4D97-AF65-F5344CB8AC3E}">
        <p14:creationId xmlns:p14="http://schemas.microsoft.com/office/powerpoint/2010/main" val="33502078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 advTm="0"/>
    </mc:Choice>
    <mc:Fallback xmlns="">
      <p:transition advTm="0"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Zástupný symbol pro číslo snímku 20">
            <a:extLst>
              <a:ext uri="{FF2B5EF4-FFF2-40B4-BE49-F238E27FC236}">
                <a16:creationId xmlns:a16="http://schemas.microsoft.com/office/drawing/2014/main" id="{11B9916C-FE2D-4AED-B527-F52B889B3E2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6545F21-C657-4764-B5B2-92A02BE34E1E}" type="slidenum">
              <a:rPr lang="cs-CZ" smtClean="0"/>
              <a:pPr/>
              <a:t>2</a:t>
            </a:fld>
            <a:endParaRPr lang="cs-CZ"/>
          </a:p>
        </p:txBody>
      </p:sp>
      <p:sp>
        <p:nvSpPr>
          <p:cNvPr id="7" name="Zástupný text 6">
            <a:extLst>
              <a:ext uri="{FF2B5EF4-FFF2-40B4-BE49-F238E27FC236}">
                <a16:creationId xmlns:a16="http://schemas.microsoft.com/office/drawing/2014/main" id="{19375461-B6E7-A1AC-3329-E79B44DA569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95019" y="422152"/>
            <a:ext cx="10512797" cy="576000"/>
          </a:xfrm>
        </p:spPr>
        <p:txBody>
          <a:bodyPr/>
          <a:lstStyle/>
          <a:p>
            <a:r>
              <a:rPr lang="cs-CZ" dirty="0"/>
              <a:t>Představení společnosti GasNet</a:t>
            </a:r>
          </a:p>
        </p:txBody>
      </p:sp>
      <p:pic>
        <p:nvPicPr>
          <p:cNvPr id="12" name="Obrázek 11">
            <a:extLst>
              <a:ext uri="{FF2B5EF4-FFF2-40B4-BE49-F238E27FC236}">
                <a16:creationId xmlns:a16="http://schemas.microsoft.com/office/drawing/2014/main" id="{65776F93-4637-A88F-2B9B-9B006302478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4001" y="1085593"/>
            <a:ext cx="6415545" cy="3663448"/>
          </a:xfrm>
          <a:prstGeom prst="rect">
            <a:avLst/>
          </a:prstGeom>
        </p:spPr>
      </p:pic>
      <p:pic>
        <p:nvPicPr>
          <p:cNvPr id="13" name="Obrázek 12">
            <a:extLst>
              <a:ext uri="{FF2B5EF4-FFF2-40B4-BE49-F238E27FC236}">
                <a16:creationId xmlns:a16="http://schemas.microsoft.com/office/drawing/2014/main" id="{DD1A825B-24B8-F0B0-1ABA-60A252BBB17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23931" y="4792237"/>
            <a:ext cx="8346616" cy="1579347"/>
          </a:xfrm>
          <a:prstGeom prst="rect">
            <a:avLst/>
          </a:prstGeom>
        </p:spPr>
      </p:pic>
      <p:pic>
        <p:nvPicPr>
          <p:cNvPr id="14" name="Obrázek 13">
            <a:extLst>
              <a:ext uri="{FF2B5EF4-FFF2-40B4-BE49-F238E27FC236}">
                <a16:creationId xmlns:a16="http://schemas.microsoft.com/office/drawing/2014/main" id="{31E47E04-5072-CB69-F69C-447D3B2A1AD3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938"/>
          <a:stretch/>
        </p:blipFill>
        <p:spPr>
          <a:xfrm>
            <a:off x="7209692" y="1324050"/>
            <a:ext cx="4526805" cy="26620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761449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">
            <a:extLst>
              <a:ext uri="{FF2B5EF4-FFF2-40B4-BE49-F238E27FC236}">
                <a16:creationId xmlns:a16="http://schemas.microsoft.com/office/drawing/2014/main" id="{4757B15F-F973-4F1D-EE8F-BF362543652D}"/>
              </a:ext>
            </a:extLst>
          </p:cNvPr>
          <p:cNvSpPr>
            <a:spLocks noGrp="1"/>
          </p:cNvSpPr>
          <p:nvPr>
            <p:ph type="title" idx="4294967295"/>
          </p:nvPr>
        </p:nvSpPr>
        <p:spPr bwMode="gray">
          <a:xfrm>
            <a:off x="432048" y="504825"/>
            <a:ext cx="9984432" cy="369888"/>
          </a:xfrm>
        </p:spPr>
        <p:txBody>
          <a:bodyPr/>
          <a:lstStyle/>
          <a:p>
            <a:pPr>
              <a:spcBef>
                <a:spcPts val="600"/>
              </a:spcBef>
            </a:pPr>
            <a:r>
              <a:rPr lang="cs-CZ" sz="3200" dirty="0"/>
              <a:t>Stažení dat z externí aplikace ve formátu CSV</a:t>
            </a:r>
          </a:p>
        </p:txBody>
      </p:sp>
      <p:pic>
        <p:nvPicPr>
          <p:cNvPr id="4" name="Obrázek 3" descr="Obsah obrázku text, snímek obrazovky, řada/pruh, Písmo&#10;&#10;Popis byl vytvořen automaticky">
            <a:extLst>
              <a:ext uri="{FF2B5EF4-FFF2-40B4-BE49-F238E27FC236}">
                <a16:creationId xmlns:a16="http://schemas.microsoft.com/office/drawing/2014/main" id="{2A149966-2D09-D77B-28FC-ECCBD6ED54B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27720" y="1628800"/>
            <a:ext cx="11136560" cy="2769284"/>
          </a:xfrm>
          <a:prstGeom prst="rect">
            <a:avLst/>
          </a:prstGeom>
        </p:spPr>
      </p:pic>
      <p:pic>
        <p:nvPicPr>
          <p:cNvPr id="8" name="Obrázek 7" descr="Obsah obrázku text, snímek obrazovky, číslo, Písmo&#10;&#10;Popis byl vytvořen automaticky">
            <a:extLst>
              <a:ext uri="{FF2B5EF4-FFF2-40B4-BE49-F238E27FC236}">
                <a16:creationId xmlns:a16="http://schemas.microsoft.com/office/drawing/2014/main" id="{68E081C2-7E19-DF81-277B-1B399C96E99F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b="46525"/>
          <a:stretch/>
        </p:blipFill>
        <p:spPr>
          <a:xfrm>
            <a:off x="3215679" y="4288075"/>
            <a:ext cx="4880833" cy="2065100"/>
          </a:xfrm>
          <a:prstGeom prst="rect">
            <a:avLst/>
          </a:prstGeom>
        </p:spPr>
      </p:pic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180891240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">
            <a:extLst>
              <a:ext uri="{FF2B5EF4-FFF2-40B4-BE49-F238E27FC236}">
                <a16:creationId xmlns:a16="http://schemas.microsoft.com/office/drawing/2014/main" id="{4757B15F-F973-4F1D-EE8F-BF362543652D}"/>
              </a:ext>
            </a:extLst>
          </p:cNvPr>
          <p:cNvSpPr>
            <a:spLocks noGrp="1"/>
          </p:cNvSpPr>
          <p:nvPr>
            <p:ph type="title" idx="4294967295"/>
          </p:nvPr>
        </p:nvSpPr>
        <p:spPr bwMode="gray">
          <a:xfrm>
            <a:off x="432048" y="504825"/>
            <a:ext cx="9984432" cy="369888"/>
          </a:xfrm>
        </p:spPr>
        <p:txBody>
          <a:bodyPr/>
          <a:lstStyle/>
          <a:p>
            <a:pPr>
              <a:spcBef>
                <a:spcPts val="600"/>
              </a:spcBef>
            </a:pPr>
            <a:r>
              <a:rPr lang="cs-CZ" sz="3200" dirty="0"/>
              <a:t>Stažení dat z interní databáze obchodních partnerů</a:t>
            </a:r>
          </a:p>
        </p:txBody>
      </p:sp>
      <p:pic>
        <p:nvPicPr>
          <p:cNvPr id="3" name="Obrázek 2" descr="Obsah obrázku text, snímek obrazovky, software, číslo&#10;&#10;Popis byl vytvořen automaticky">
            <a:extLst>
              <a:ext uri="{FF2B5EF4-FFF2-40B4-BE49-F238E27FC236}">
                <a16:creationId xmlns:a16="http://schemas.microsoft.com/office/drawing/2014/main" id="{F3FC9AE5-CB0C-D7D1-81E8-8FCB6F51925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67408" y="1268760"/>
            <a:ext cx="10344472" cy="4926218"/>
          </a:xfrm>
          <a:prstGeom prst="rect">
            <a:avLst/>
          </a:prstGeom>
        </p:spPr>
      </p:pic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338297107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">
            <a:extLst>
              <a:ext uri="{FF2B5EF4-FFF2-40B4-BE49-F238E27FC236}">
                <a16:creationId xmlns:a16="http://schemas.microsoft.com/office/drawing/2014/main" id="{4757B15F-F973-4F1D-EE8F-BF362543652D}"/>
              </a:ext>
            </a:extLst>
          </p:cNvPr>
          <p:cNvSpPr>
            <a:spLocks noGrp="1"/>
          </p:cNvSpPr>
          <p:nvPr>
            <p:ph type="title" idx="4294967295"/>
          </p:nvPr>
        </p:nvSpPr>
        <p:spPr bwMode="gray">
          <a:xfrm>
            <a:off x="432048" y="504825"/>
            <a:ext cx="9984432" cy="369888"/>
          </a:xfrm>
        </p:spPr>
        <p:txBody>
          <a:bodyPr/>
          <a:lstStyle/>
          <a:p>
            <a:pPr>
              <a:spcBef>
                <a:spcPts val="600"/>
              </a:spcBef>
            </a:pPr>
            <a:r>
              <a:rPr lang="cs-CZ" sz="2800" dirty="0"/>
              <a:t>Vytvoření importního souboru pro aktualizaci kmenových záznamů obchodních partnerů v interním systému</a:t>
            </a:r>
          </a:p>
        </p:txBody>
      </p:sp>
      <p:pic>
        <p:nvPicPr>
          <p:cNvPr id="3" name="Obrázek 2" descr="Obsah obrázku text, snímek obrazovky, Písmo, řada/pruh&#10;&#10;Popis byl vytvořen automaticky">
            <a:extLst>
              <a:ext uri="{FF2B5EF4-FFF2-40B4-BE49-F238E27FC236}">
                <a16:creationId xmlns:a16="http://schemas.microsoft.com/office/drawing/2014/main" id="{6DC60929-2DA1-8155-9D44-F93E6941B69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51384" y="2636842"/>
            <a:ext cx="11089232" cy="1634345"/>
          </a:xfrm>
          <a:prstGeom prst="rect">
            <a:avLst/>
          </a:prstGeom>
        </p:spPr>
      </p:pic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107248797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"/>
          <p:cNvSpPr>
            <a:spLocks noGrp="1"/>
          </p:cNvSpPr>
          <p:nvPr>
            <p:ph type="title" idx="4294967295"/>
          </p:nvPr>
        </p:nvSpPr>
        <p:spPr bwMode="gray">
          <a:xfrm>
            <a:off x="453794" y="393599"/>
            <a:ext cx="11183938" cy="875161"/>
          </a:xfrm>
        </p:spPr>
        <p:txBody>
          <a:bodyPr/>
          <a:lstStyle/>
          <a:p>
            <a:pPr>
              <a:spcBef>
                <a:spcPts val="600"/>
              </a:spcBef>
            </a:pPr>
            <a:r>
              <a:rPr lang="cs-CZ" sz="3200" dirty="0"/>
              <a:t>3. Zpracování datových zpráv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3B76FA9-F0A5-4FD8-3631-D31BF0B3F9D2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547994" y="1512565"/>
            <a:ext cx="4203700" cy="260251"/>
          </a:xfrm>
        </p:spPr>
        <p:txBody>
          <a:bodyPr/>
          <a:lstStyle/>
          <a:p>
            <a:pPr>
              <a:spcBef>
                <a:spcPts val="600"/>
              </a:spcBef>
            </a:pPr>
            <a:r>
              <a:rPr lang="cs-CZ" sz="1600" b="1" dirty="0" err="1"/>
              <a:t>Low-code</a:t>
            </a:r>
            <a:r>
              <a:rPr lang="cs-CZ" sz="1600" b="1" dirty="0"/>
              <a:t> / no-</a:t>
            </a:r>
            <a:r>
              <a:rPr lang="cs-CZ" sz="1600" b="1" dirty="0" err="1"/>
              <a:t>code</a:t>
            </a:r>
            <a:r>
              <a:rPr lang="cs-CZ" sz="1600" b="1" dirty="0"/>
              <a:t> nástroj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ED73500A-1872-D8A8-C9DC-32DF67272440}"/>
              </a:ext>
            </a:extLst>
          </p:cNvPr>
          <p:cNvSpPr txBox="1">
            <a:spLocks/>
          </p:cNvSpPr>
          <p:nvPr/>
        </p:nvSpPr>
        <p:spPr bwMode="black">
          <a:xfrm>
            <a:off x="671084" y="2060849"/>
            <a:ext cx="8161220" cy="122413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Tx/>
              <a:buSzPct val="80000"/>
              <a:buFont typeface="72 Brand" panose="02000000000000000000" pitchFamily="2" charset="0"/>
              <a:buChar char="​"/>
              <a:defRPr sz="2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b="0" i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80000"/>
              <a:buFont typeface="Courier New" panose="02070309020205020404" pitchFamily="49" charset="0"/>
              <a:buChar char="o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856" indent="-179964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sz="1400" b="0" i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  <a:buNone/>
            </a:pPr>
            <a:r>
              <a:rPr lang="cs-CZ" sz="1600" b="1" dirty="0"/>
              <a:t>Proces:</a:t>
            </a:r>
          </a:p>
          <a:p>
            <a:pPr marL="342797" indent="-342797">
              <a:spcBef>
                <a:spcPts val="600"/>
              </a:spcBef>
              <a:buSzPct val="100000"/>
              <a:buFont typeface="+mj-lt"/>
              <a:buAutoNum type="arabicPeriod"/>
            </a:pPr>
            <a:r>
              <a:rPr lang="cs-CZ" sz="1600" dirty="0"/>
              <a:t>Otevření datové schránky a zobrazení přehledu nezpracovaných datových zpráv</a:t>
            </a:r>
          </a:p>
          <a:p>
            <a:pPr marL="342797" indent="-342797">
              <a:spcBef>
                <a:spcPts val="600"/>
              </a:spcBef>
              <a:buSzPct val="100000"/>
              <a:buFont typeface="+mj-lt"/>
              <a:buAutoNum type="arabicPeriod"/>
            </a:pPr>
            <a:r>
              <a:rPr lang="cs-CZ" sz="1600" dirty="0"/>
              <a:t>Postupné otevírání jednotlivých datových zpráv a potvrzení jejich příjmu</a:t>
            </a:r>
            <a:endParaRPr lang="en-US" sz="1600" dirty="0"/>
          </a:p>
        </p:txBody>
      </p:sp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5" name="Náhled snímku 4">
                <a:extLst>
                  <a:ext uri="{FF2B5EF4-FFF2-40B4-BE49-F238E27FC236}">
                    <a16:creationId xmlns:a16="http://schemas.microsoft.com/office/drawing/2014/main" id="{BA86BE3D-45E3-0B07-FF5C-1B8AD5169AC0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3231636012"/>
                  </p:ext>
                </p:extLst>
              </p:nvPr>
            </p:nvGraphicFramePr>
            <p:xfrm>
              <a:off x="860833" y="3414841"/>
              <a:ext cx="4992555" cy="2808312"/>
            </p:xfrm>
            <a:graphic>
              <a:graphicData uri="http://schemas.microsoft.com/office/powerpoint/2016/slidezoom">
                <pslz:sldZm>
                  <pslz:sldZmObj sldId="2147483595" cId="2199549654">
                    <pslz:zmPr id="{2927D21F-FB0A-4C70-B607-7516B2AF3629}" returnToParent="0" transitionDur="1000">
                      <p166:blipFill xmlns:p166="http://schemas.microsoft.com/office/powerpoint/2016/6/main">
                        <a:blip r:embed="rId5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4992555" cy="2808312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5" name="Náhled snímku 4">
                <a:extLst>
                  <a:ext uri="{FF2B5EF4-FFF2-40B4-BE49-F238E27FC236}">
                    <a16:creationId xmlns:a16="http://schemas.microsoft.com/office/drawing/2014/main" id="{BA86BE3D-45E3-0B07-FF5C-1B8AD5169AC0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860833" y="3414841"/>
                <a:ext cx="4992555" cy="2808312"/>
              </a:xfrm>
              <a:prstGeom prst="rect">
                <a:avLst/>
              </a:prstGeom>
              <a:ln w="3175">
                <a:solidFill>
                  <a:prstClr val="ltGray"/>
                </a:solidFill>
              </a:ln>
            </p:spPr>
          </p:pic>
        </mc:Fallback>
      </mc:AlternateContent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9" name="Náhled snímku 8">
                <a:extLst>
                  <a:ext uri="{FF2B5EF4-FFF2-40B4-BE49-F238E27FC236}">
                    <a16:creationId xmlns:a16="http://schemas.microsoft.com/office/drawing/2014/main" id="{13957F55-9993-C6DC-6012-991C63EB2ED5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4009254989"/>
                  </p:ext>
                </p:extLst>
              </p:nvPr>
            </p:nvGraphicFramePr>
            <p:xfrm>
              <a:off x="6336026" y="3414841"/>
              <a:ext cx="4992555" cy="2808312"/>
            </p:xfrm>
            <a:graphic>
              <a:graphicData uri="http://schemas.microsoft.com/office/powerpoint/2016/slidezoom">
                <pslz:sldZm>
                  <pslz:sldZmObj sldId="2147483596" cId="2079218860">
                    <pslz:zmPr id="{B240C071-83D7-4FE5-8A79-3FD0EE7D2EE9}" returnToParent="0" transitionDur="1000">
                      <p166:blipFill xmlns:p166="http://schemas.microsoft.com/office/powerpoint/2016/6/main">
                        <a:blip r:embed="rId7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4992555" cy="2808312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9" name="Náhled snímku 8">
                <a:extLst>
                  <a:ext uri="{FF2B5EF4-FFF2-40B4-BE49-F238E27FC236}">
                    <a16:creationId xmlns:a16="http://schemas.microsoft.com/office/drawing/2014/main" id="{13957F55-9993-C6DC-6012-991C63EB2ED5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6336026" y="3414841"/>
                <a:ext cx="4992555" cy="2808312"/>
              </a:xfrm>
              <a:prstGeom prst="rect">
                <a:avLst/>
              </a:prstGeom>
              <a:ln w="3175">
                <a:solidFill>
                  <a:prstClr val="ltGray"/>
                </a:solidFill>
              </a:ln>
            </p:spPr>
          </p:pic>
        </mc:Fallback>
      </mc:AlternateContent>
    </p:spTree>
    <p:custDataLst>
      <p:custData r:id="rId2"/>
      <p:custData r:id="rId3"/>
    </p:custDataLst>
    <p:extLst>
      <p:ext uri="{BB962C8B-B14F-4D97-AF65-F5344CB8AC3E}">
        <p14:creationId xmlns:p14="http://schemas.microsoft.com/office/powerpoint/2010/main" val="40877755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 advTm="0"/>
    </mc:Choice>
    <mc:Fallback xmlns="">
      <p:transition advTm="0"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">
            <a:extLst>
              <a:ext uri="{FF2B5EF4-FFF2-40B4-BE49-F238E27FC236}">
                <a16:creationId xmlns:a16="http://schemas.microsoft.com/office/drawing/2014/main" id="{4757B15F-F973-4F1D-EE8F-BF362543652D}"/>
              </a:ext>
            </a:extLst>
          </p:cNvPr>
          <p:cNvSpPr>
            <a:spLocks noGrp="1"/>
          </p:cNvSpPr>
          <p:nvPr>
            <p:ph type="title" idx="4294967295"/>
          </p:nvPr>
        </p:nvSpPr>
        <p:spPr bwMode="gray">
          <a:xfrm>
            <a:off x="432048" y="504825"/>
            <a:ext cx="11208568" cy="369888"/>
          </a:xfrm>
        </p:spPr>
        <p:txBody>
          <a:bodyPr/>
          <a:lstStyle/>
          <a:p>
            <a:pPr>
              <a:spcBef>
                <a:spcPts val="600"/>
              </a:spcBef>
            </a:pPr>
            <a:r>
              <a:rPr lang="cs-CZ" sz="3200" dirty="0"/>
              <a:t>Otevření datové schránky a zobrazení přehledu nezpracovaných datových zpráv</a:t>
            </a:r>
          </a:p>
        </p:txBody>
      </p:sp>
      <p:pic>
        <p:nvPicPr>
          <p:cNvPr id="4" name="Obrázek 3" descr="Obsah obrázku text, snímek obrazovky, číslo&#10;&#10;Popis byl vytvořen automaticky">
            <a:extLst>
              <a:ext uri="{FF2B5EF4-FFF2-40B4-BE49-F238E27FC236}">
                <a16:creationId xmlns:a16="http://schemas.microsoft.com/office/drawing/2014/main" id="{7DFB0CFA-736F-4C50-56BB-64631C05B32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25185" y="1772816"/>
            <a:ext cx="8741630" cy="4392488"/>
          </a:xfrm>
          <a:prstGeom prst="rect">
            <a:avLst/>
          </a:prstGeom>
        </p:spPr>
      </p:pic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219954965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">
            <a:extLst>
              <a:ext uri="{FF2B5EF4-FFF2-40B4-BE49-F238E27FC236}">
                <a16:creationId xmlns:a16="http://schemas.microsoft.com/office/drawing/2014/main" id="{4757B15F-F973-4F1D-EE8F-BF362543652D}"/>
              </a:ext>
            </a:extLst>
          </p:cNvPr>
          <p:cNvSpPr>
            <a:spLocks noGrp="1"/>
          </p:cNvSpPr>
          <p:nvPr>
            <p:ph type="title" idx="4294967295"/>
          </p:nvPr>
        </p:nvSpPr>
        <p:spPr bwMode="gray">
          <a:xfrm>
            <a:off x="432048" y="504824"/>
            <a:ext cx="2711624" cy="2348112"/>
          </a:xfrm>
        </p:spPr>
        <p:txBody>
          <a:bodyPr/>
          <a:lstStyle/>
          <a:p>
            <a:pPr>
              <a:spcBef>
                <a:spcPts val="600"/>
              </a:spcBef>
            </a:pPr>
            <a:r>
              <a:rPr lang="cs-CZ" sz="3200" dirty="0"/>
              <a:t>Postupné otevírání jednotlivých datových zpráv a potvrzení jejich příjmu</a:t>
            </a:r>
          </a:p>
        </p:txBody>
      </p:sp>
      <p:pic>
        <p:nvPicPr>
          <p:cNvPr id="3" name="Obrázek 2" descr="Obsah obrázku text, snímek obrazovky, číslo, Písmo&#10;&#10;Popis byl vytvořen automaticky">
            <a:extLst>
              <a:ext uri="{FF2B5EF4-FFF2-40B4-BE49-F238E27FC236}">
                <a16:creationId xmlns:a16="http://schemas.microsoft.com/office/drawing/2014/main" id="{5712416F-1AB0-327A-F315-A69C4403905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71863" y="620688"/>
            <a:ext cx="6714273" cy="5616624"/>
          </a:xfrm>
          <a:prstGeom prst="rect">
            <a:avLst/>
          </a:prstGeom>
        </p:spPr>
      </p:pic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207921886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"/>
          <p:cNvSpPr>
            <a:spLocks noGrp="1"/>
          </p:cNvSpPr>
          <p:nvPr>
            <p:ph type="title" idx="4294967295"/>
          </p:nvPr>
        </p:nvSpPr>
        <p:spPr bwMode="gray">
          <a:xfrm>
            <a:off x="453794" y="393599"/>
            <a:ext cx="11183938" cy="875161"/>
          </a:xfrm>
        </p:spPr>
        <p:txBody>
          <a:bodyPr/>
          <a:lstStyle/>
          <a:p>
            <a:pPr>
              <a:spcBef>
                <a:spcPts val="600"/>
              </a:spcBef>
            </a:pPr>
            <a:r>
              <a:rPr lang="cs-CZ" sz="3200" dirty="0"/>
              <a:t>4. Hromadné vytváření dokumentů – vyplňování šablon / vzorových dokumentů</a:t>
            </a:r>
            <a:br>
              <a:rPr lang="cs-CZ" sz="3200" dirty="0"/>
            </a:br>
            <a:endParaRPr lang="cs-CZ" sz="320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3B76FA9-F0A5-4FD8-3631-D31BF0B3F9D2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547994" y="1512565"/>
            <a:ext cx="4203700" cy="260251"/>
          </a:xfrm>
        </p:spPr>
        <p:txBody>
          <a:bodyPr/>
          <a:lstStyle/>
          <a:p>
            <a:pPr>
              <a:spcBef>
                <a:spcPts val="600"/>
              </a:spcBef>
            </a:pPr>
            <a:r>
              <a:rPr lang="cs-CZ" sz="1600" b="1" dirty="0" err="1"/>
              <a:t>Low-code</a:t>
            </a:r>
            <a:r>
              <a:rPr lang="cs-CZ" sz="1600" b="1" dirty="0"/>
              <a:t> / no-</a:t>
            </a:r>
            <a:r>
              <a:rPr lang="cs-CZ" sz="1600" b="1" dirty="0" err="1"/>
              <a:t>code</a:t>
            </a:r>
            <a:r>
              <a:rPr lang="cs-CZ" sz="1600" b="1" dirty="0"/>
              <a:t> nástroj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ED73500A-1872-D8A8-C9DC-32DF67272440}"/>
              </a:ext>
            </a:extLst>
          </p:cNvPr>
          <p:cNvSpPr txBox="1">
            <a:spLocks/>
          </p:cNvSpPr>
          <p:nvPr/>
        </p:nvSpPr>
        <p:spPr bwMode="black">
          <a:xfrm>
            <a:off x="671084" y="2060849"/>
            <a:ext cx="8161220" cy="12241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Tx/>
              <a:buSzPct val="80000"/>
              <a:buFont typeface="72 Brand" panose="02000000000000000000" pitchFamily="2" charset="0"/>
              <a:buChar char="​"/>
              <a:defRPr sz="2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b="0" i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80000"/>
              <a:buFont typeface="Courier New" panose="02070309020205020404" pitchFamily="49" charset="0"/>
              <a:buChar char="o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856" indent="-179964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sz="1400" b="0" i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  <a:buNone/>
            </a:pPr>
            <a:r>
              <a:rPr lang="cs-CZ" sz="1600" b="1" dirty="0"/>
              <a:t>Proces:</a:t>
            </a:r>
          </a:p>
          <a:p>
            <a:pPr marL="342265" indent="-342265">
              <a:spcBef>
                <a:spcPts val="600"/>
              </a:spcBef>
              <a:buSzPct val="100000"/>
              <a:buFont typeface="+mj-lt"/>
              <a:buAutoNum type="arabicPeriod"/>
            </a:pPr>
            <a:r>
              <a:rPr lang="cs-CZ" sz="1600" dirty="0"/>
              <a:t>Přenos údajů z Excelu nebo jiných systémů nebo aplikací do Wordu / šablony</a:t>
            </a:r>
            <a:endParaRPr lang="cs-CZ" sz="1600" dirty="0">
              <a:cs typeface="Segoe UI Light"/>
            </a:endParaRPr>
          </a:p>
          <a:p>
            <a:pPr marL="342265" indent="-342265">
              <a:spcBef>
                <a:spcPts val="600"/>
              </a:spcBef>
              <a:buSzPct val="100000"/>
              <a:buFont typeface="+mj-lt"/>
              <a:buAutoNum type="arabicPeriod"/>
            </a:pPr>
            <a:r>
              <a:rPr lang="cs-CZ" sz="1600" dirty="0"/>
              <a:t>Uložení v PDF a přenos do jakéhokoliv systému nebo složky, případně odeslání emailem</a:t>
            </a:r>
            <a:endParaRPr lang="en-US" sz="1600" dirty="0">
              <a:cs typeface="Segoe UI Light"/>
            </a:endParaRPr>
          </a:p>
        </p:txBody>
      </p:sp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8" name="Náhled snímku 7">
                <a:extLst>
                  <a:ext uri="{FF2B5EF4-FFF2-40B4-BE49-F238E27FC236}">
                    <a16:creationId xmlns:a16="http://schemas.microsoft.com/office/drawing/2014/main" id="{EE75546B-6049-AC67-1814-7450F4F19F29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3300061710"/>
                  </p:ext>
                </p:extLst>
              </p:nvPr>
            </p:nvGraphicFramePr>
            <p:xfrm>
              <a:off x="935597" y="3428999"/>
              <a:ext cx="4848200" cy="2727113"/>
            </p:xfrm>
            <a:graphic>
              <a:graphicData uri="http://schemas.microsoft.com/office/powerpoint/2016/slidezoom">
                <pslz:sldZm>
                  <pslz:sldZmObj sldId="2147483598" cId="476880697">
                    <pslz:zmPr id="{77366BD3-1C73-4831-947F-F0D2D8F7B9A9}" returnToParent="0" transitionDur="1000">
                      <p166:blipFill xmlns:p166="http://schemas.microsoft.com/office/powerpoint/2016/6/main">
                        <a:blip r:embed="rId6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4848200" cy="2727113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8" name="Náhled snímku 7">
                <a:extLst>
                  <a:ext uri="{FF2B5EF4-FFF2-40B4-BE49-F238E27FC236}">
                    <a16:creationId xmlns:a16="http://schemas.microsoft.com/office/drawing/2014/main" id="{EE75546B-6049-AC67-1814-7450F4F19F29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935597" y="3428999"/>
                <a:ext cx="4848200" cy="2727113"/>
              </a:xfrm>
              <a:prstGeom prst="rect">
                <a:avLst/>
              </a:prstGeom>
              <a:ln w="3175">
                <a:solidFill>
                  <a:prstClr val="ltGray"/>
                </a:solidFill>
              </a:ln>
            </p:spPr>
          </p:pic>
        </mc:Fallback>
      </mc:AlternateContent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11" name="Náhled snímku 10">
                <a:extLst>
                  <a:ext uri="{FF2B5EF4-FFF2-40B4-BE49-F238E27FC236}">
                    <a16:creationId xmlns:a16="http://schemas.microsoft.com/office/drawing/2014/main" id="{B3181EC2-439A-4A3B-1979-DD222ADD288F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2205909792"/>
                  </p:ext>
                </p:extLst>
              </p:nvPr>
            </p:nvGraphicFramePr>
            <p:xfrm>
              <a:off x="6408204" y="3428999"/>
              <a:ext cx="4848200" cy="2727113"/>
            </p:xfrm>
            <a:graphic>
              <a:graphicData uri="http://schemas.microsoft.com/office/powerpoint/2016/slidezoom">
                <pslz:sldZm>
                  <pslz:sldZmObj sldId="2147483599" cId="3914922479">
                    <pslz:zmPr id="{71D15131-4C18-4AA3-9A51-FBEE9835CDF2}" returnToParent="0" transitionDur="1000">
                      <p166:blipFill xmlns:p166="http://schemas.microsoft.com/office/powerpoint/2016/6/main">
                        <a:blip r:embed="rId8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4848200" cy="2727113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11" name="Náhled snímku 10">
                <a:extLst>
                  <a:ext uri="{FF2B5EF4-FFF2-40B4-BE49-F238E27FC236}">
                    <a16:creationId xmlns:a16="http://schemas.microsoft.com/office/drawing/2014/main" id="{B3181EC2-439A-4A3B-1979-DD222ADD288F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6408204" y="3428999"/>
                <a:ext cx="4848200" cy="2727113"/>
              </a:xfrm>
              <a:prstGeom prst="rect">
                <a:avLst/>
              </a:prstGeom>
              <a:ln w="3175">
                <a:solidFill>
                  <a:prstClr val="ltGray"/>
                </a:solidFill>
              </a:ln>
            </p:spPr>
          </p:pic>
        </mc:Fallback>
      </mc:AlternateContent>
    </p:spTree>
    <p:custDataLst>
      <p:custData r:id="rId2"/>
      <p:custData r:id="rId3"/>
    </p:custDataLst>
    <p:extLst>
      <p:ext uri="{BB962C8B-B14F-4D97-AF65-F5344CB8AC3E}">
        <p14:creationId xmlns:p14="http://schemas.microsoft.com/office/powerpoint/2010/main" val="32698504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 advTm="0"/>
    </mc:Choice>
    <mc:Fallback xmlns="">
      <p:transition advTm="0"/>
    </mc:Fallback>
  </mc:AlternateContent>
  <p:extLst>
    <p:ext uri="{6950BFC3-D8DA-4A85-94F7-54DA5524770B}">
      <p188:commentRel xmlns:p188="http://schemas.microsoft.com/office/powerpoint/2018/8/main" r:id="rId5"/>
    </p:ext>
  </p:extLs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">
            <a:extLst>
              <a:ext uri="{FF2B5EF4-FFF2-40B4-BE49-F238E27FC236}">
                <a16:creationId xmlns:a16="http://schemas.microsoft.com/office/drawing/2014/main" id="{4757B15F-F973-4F1D-EE8F-BF362543652D}"/>
              </a:ext>
            </a:extLst>
          </p:cNvPr>
          <p:cNvSpPr>
            <a:spLocks noGrp="1"/>
          </p:cNvSpPr>
          <p:nvPr>
            <p:ph type="title" idx="4294967295"/>
          </p:nvPr>
        </p:nvSpPr>
        <p:spPr bwMode="gray">
          <a:xfrm>
            <a:off x="432048" y="504825"/>
            <a:ext cx="9984432" cy="369888"/>
          </a:xfrm>
        </p:spPr>
        <p:txBody>
          <a:bodyPr/>
          <a:lstStyle/>
          <a:p>
            <a:pPr>
              <a:spcBef>
                <a:spcPts val="600"/>
              </a:spcBef>
            </a:pPr>
            <a:r>
              <a:rPr lang="cs-CZ" sz="3200" dirty="0"/>
              <a:t>Přenos údajů z Excelu do Wordu / šablony</a:t>
            </a:r>
          </a:p>
        </p:txBody>
      </p:sp>
      <p:pic>
        <p:nvPicPr>
          <p:cNvPr id="3" name="Obrázek 2" descr="Obsah obrázku text, snímek obrazovky, číslo, řada/pruh&#10;&#10;Popis byl vytvořen automaticky">
            <a:extLst>
              <a:ext uri="{FF2B5EF4-FFF2-40B4-BE49-F238E27FC236}">
                <a16:creationId xmlns:a16="http://schemas.microsoft.com/office/drawing/2014/main" id="{DC0D45EE-31A1-6D05-0E31-A8A5666DDBF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555320" y="1196752"/>
            <a:ext cx="9081360" cy="5216781"/>
          </a:xfrm>
          <a:prstGeom prst="rect">
            <a:avLst/>
          </a:prstGeom>
        </p:spPr>
      </p:pic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476880697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5"/>
    </p:ext>
  </p:extLs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">
            <a:extLst>
              <a:ext uri="{FF2B5EF4-FFF2-40B4-BE49-F238E27FC236}">
                <a16:creationId xmlns:a16="http://schemas.microsoft.com/office/drawing/2014/main" id="{4757B15F-F973-4F1D-EE8F-BF362543652D}"/>
              </a:ext>
            </a:extLst>
          </p:cNvPr>
          <p:cNvSpPr>
            <a:spLocks noGrp="1"/>
          </p:cNvSpPr>
          <p:nvPr>
            <p:ph type="title" idx="4294967295"/>
          </p:nvPr>
        </p:nvSpPr>
        <p:spPr bwMode="gray">
          <a:xfrm>
            <a:off x="432048" y="504825"/>
            <a:ext cx="9984432" cy="369888"/>
          </a:xfrm>
        </p:spPr>
        <p:txBody>
          <a:bodyPr/>
          <a:lstStyle/>
          <a:p>
            <a:pPr>
              <a:spcBef>
                <a:spcPts val="600"/>
              </a:spcBef>
            </a:pPr>
            <a:r>
              <a:rPr lang="cs-CZ" sz="2800" dirty="0"/>
              <a:t>Uložení v PDF a přenos do jakéhokoliv systému nebo složky, případně odeslání emailem</a:t>
            </a:r>
          </a:p>
        </p:txBody>
      </p:sp>
      <p:pic>
        <p:nvPicPr>
          <p:cNvPr id="4" name="Obrázek 3" descr="Obsah obrázku text, snímek obrazovky, software, Webová stránka&#10;&#10;Popis byl vytvořen automaticky">
            <a:extLst>
              <a:ext uri="{FF2B5EF4-FFF2-40B4-BE49-F238E27FC236}">
                <a16:creationId xmlns:a16="http://schemas.microsoft.com/office/drawing/2014/main" id="{2153AE53-37F8-F6A0-7B89-C7F93353B45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985312" y="1426908"/>
            <a:ext cx="8221375" cy="4926267"/>
          </a:xfrm>
          <a:prstGeom prst="rect">
            <a:avLst/>
          </a:prstGeom>
        </p:spPr>
      </p:pic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391492247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"/>
          <p:cNvSpPr>
            <a:spLocks noGrp="1"/>
          </p:cNvSpPr>
          <p:nvPr>
            <p:ph type="title" idx="4294967295"/>
          </p:nvPr>
        </p:nvSpPr>
        <p:spPr bwMode="gray">
          <a:xfrm>
            <a:off x="453794" y="393599"/>
            <a:ext cx="11183938" cy="875161"/>
          </a:xfrm>
        </p:spPr>
        <p:txBody>
          <a:bodyPr/>
          <a:lstStyle/>
          <a:p>
            <a:pPr>
              <a:spcBef>
                <a:spcPts val="600"/>
              </a:spcBef>
            </a:pPr>
            <a:r>
              <a:rPr lang="cs-CZ" sz="3200" dirty="0"/>
              <a:t>5. Hromadná změna dat v systémech / aplikacích</a:t>
            </a:r>
            <a:br>
              <a:rPr lang="cs-CZ" sz="3200" dirty="0"/>
            </a:br>
            <a:br>
              <a:rPr lang="cs-CZ" sz="3200" dirty="0"/>
            </a:br>
            <a:endParaRPr lang="cs-CZ" sz="320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3B76FA9-F0A5-4FD8-3631-D31BF0B3F9D2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547994" y="1512565"/>
            <a:ext cx="4203700" cy="260251"/>
          </a:xfrm>
        </p:spPr>
        <p:txBody>
          <a:bodyPr/>
          <a:lstStyle/>
          <a:p>
            <a:pPr>
              <a:spcBef>
                <a:spcPts val="600"/>
              </a:spcBef>
            </a:pPr>
            <a:r>
              <a:rPr lang="cs-CZ" sz="1600" b="1" dirty="0" err="1"/>
              <a:t>Low-code</a:t>
            </a:r>
            <a:r>
              <a:rPr lang="cs-CZ" sz="1600" b="1" dirty="0"/>
              <a:t> / no-</a:t>
            </a:r>
            <a:r>
              <a:rPr lang="cs-CZ" sz="1600" b="1" dirty="0" err="1"/>
              <a:t>code</a:t>
            </a:r>
            <a:r>
              <a:rPr lang="cs-CZ" sz="1600" b="1" dirty="0"/>
              <a:t> nástroj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ED73500A-1872-D8A8-C9DC-32DF67272440}"/>
              </a:ext>
            </a:extLst>
          </p:cNvPr>
          <p:cNvSpPr txBox="1">
            <a:spLocks/>
          </p:cNvSpPr>
          <p:nvPr/>
        </p:nvSpPr>
        <p:spPr bwMode="black">
          <a:xfrm>
            <a:off x="671084" y="2060849"/>
            <a:ext cx="8161220" cy="122413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Tx/>
              <a:buSzPct val="80000"/>
              <a:buFont typeface="72 Brand" panose="02000000000000000000" pitchFamily="2" charset="0"/>
              <a:buChar char="​"/>
              <a:defRPr sz="2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b="0" i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80000"/>
              <a:buFont typeface="Courier New" panose="02070309020205020404" pitchFamily="49" charset="0"/>
              <a:buChar char="o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856" indent="-179964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sz="1400" b="0" i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  <a:buNone/>
            </a:pPr>
            <a:r>
              <a:rPr lang="cs-CZ" sz="1600" b="1" dirty="0"/>
              <a:t>Proces:</a:t>
            </a:r>
          </a:p>
          <a:p>
            <a:pPr marL="342797" indent="-342797">
              <a:spcBef>
                <a:spcPts val="600"/>
              </a:spcBef>
              <a:buSzPct val="100000"/>
              <a:buFont typeface="+mj-lt"/>
              <a:buAutoNum type="arabicPeriod"/>
            </a:pPr>
            <a:r>
              <a:rPr lang="cs-CZ" sz="1600" dirty="0"/>
              <a:t>Načtení zdrojových dat + aktivace změny v cílové aplikaci</a:t>
            </a:r>
          </a:p>
          <a:p>
            <a:pPr marL="342797" indent="-342797">
              <a:spcBef>
                <a:spcPts val="600"/>
              </a:spcBef>
              <a:buSzPct val="100000"/>
              <a:buFont typeface="+mj-lt"/>
              <a:buAutoNum type="arabicPeriod"/>
            </a:pPr>
            <a:r>
              <a:rPr lang="cs-CZ" sz="1600" dirty="0"/>
              <a:t>Vložení změněných údajů do cílové aplikace</a:t>
            </a:r>
            <a:endParaRPr lang="en-US" sz="1600" dirty="0"/>
          </a:p>
        </p:txBody>
      </p:sp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3" name="Náhled snímku 2">
                <a:extLst>
                  <a:ext uri="{FF2B5EF4-FFF2-40B4-BE49-F238E27FC236}">
                    <a16:creationId xmlns:a16="http://schemas.microsoft.com/office/drawing/2014/main" id="{AD7B85C3-A717-9188-8A30-079178E7BD53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2686189750"/>
                  </p:ext>
                </p:extLst>
              </p:nvPr>
            </p:nvGraphicFramePr>
            <p:xfrm>
              <a:off x="911424" y="3316373"/>
              <a:ext cx="4840199" cy="2722612"/>
            </p:xfrm>
            <a:graphic>
              <a:graphicData uri="http://schemas.microsoft.com/office/powerpoint/2016/slidezoom">
                <pslz:sldZm>
                  <pslz:sldZmObj sldId="2147483601" cId="2689905849">
                    <pslz:zmPr id="{5BD91EC9-6924-4DB2-9A62-B94FDDD20FCD}" returnToParent="0" transitionDur="1000">
                      <p166:blipFill xmlns:p166="http://schemas.microsoft.com/office/powerpoint/2016/6/main">
                        <a:blip r:embed="rId6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4840199" cy="2722612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3" name="Náhled snímku 2">
                <a:extLst>
                  <a:ext uri="{FF2B5EF4-FFF2-40B4-BE49-F238E27FC236}">
                    <a16:creationId xmlns:a16="http://schemas.microsoft.com/office/drawing/2014/main" id="{AD7B85C3-A717-9188-8A30-079178E7BD53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911424" y="3316373"/>
                <a:ext cx="4840199" cy="2722612"/>
              </a:xfrm>
              <a:prstGeom prst="rect">
                <a:avLst/>
              </a:prstGeom>
              <a:ln w="3175">
                <a:solidFill>
                  <a:prstClr val="ltGray"/>
                </a:solidFill>
              </a:ln>
            </p:spPr>
          </p:pic>
        </mc:Fallback>
      </mc:AlternateContent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7" name="Náhled snímku 6">
                <a:extLst>
                  <a:ext uri="{FF2B5EF4-FFF2-40B4-BE49-F238E27FC236}">
                    <a16:creationId xmlns:a16="http://schemas.microsoft.com/office/drawing/2014/main" id="{F0227A47-5587-8E77-257C-B3B845B1E653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1453355187"/>
                  </p:ext>
                </p:extLst>
              </p:nvPr>
            </p:nvGraphicFramePr>
            <p:xfrm>
              <a:off x="6464403" y="3316373"/>
              <a:ext cx="4840199" cy="2722612"/>
            </p:xfrm>
            <a:graphic>
              <a:graphicData uri="http://schemas.microsoft.com/office/powerpoint/2016/slidezoom">
                <pslz:sldZm>
                  <pslz:sldZmObj sldId="2147483603" cId="1599884528">
                    <pslz:zmPr id="{C06EC95E-BCD7-4181-AA9C-B51FFBD35B23}" returnToParent="0" transitionDur="1000">
                      <p166:blipFill xmlns:p166="http://schemas.microsoft.com/office/powerpoint/2016/6/main">
                        <a:blip r:embed="rId8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4840199" cy="2722612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7" name="Náhled snímku 6">
                <a:extLst>
                  <a:ext uri="{FF2B5EF4-FFF2-40B4-BE49-F238E27FC236}">
                    <a16:creationId xmlns:a16="http://schemas.microsoft.com/office/drawing/2014/main" id="{F0227A47-5587-8E77-257C-B3B845B1E653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6464403" y="3316373"/>
                <a:ext cx="4840199" cy="2722612"/>
              </a:xfrm>
              <a:prstGeom prst="rect">
                <a:avLst/>
              </a:prstGeom>
              <a:ln w="3175">
                <a:solidFill>
                  <a:prstClr val="ltGray"/>
                </a:solidFill>
              </a:ln>
            </p:spPr>
          </p:pic>
        </mc:Fallback>
      </mc:AlternateContent>
    </p:spTree>
    <p:custDataLst>
      <p:custData r:id="rId2"/>
      <p:custData r:id="rId3"/>
    </p:custDataLst>
    <p:extLst>
      <p:ext uri="{BB962C8B-B14F-4D97-AF65-F5344CB8AC3E}">
        <p14:creationId xmlns:p14="http://schemas.microsoft.com/office/powerpoint/2010/main" val="2776053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 advTm="0"/>
    </mc:Choice>
    <mc:Fallback xmlns="">
      <p:transition advTm="0"/>
    </mc:Fallback>
  </mc:AlternateContent>
  <p:extLst>
    <p:ext uri="{6950BFC3-D8DA-4A85-94F7-54DA5524770B}">
      <p188:commentRel xmlns:p188="http://schemas.microsoft.com/office/powerpoint/2018/8/main" r:id="rId5"/>
    </p:ext>
  </p:extLs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text 1">
            <a:extLst>
              <a:ext uri="{FF2B5EF4-FFF2-40B4-BE49-F238E27FC236}">
                <a16:creationId xmlns:a16="http://schemas.microsoft.com/office/drawing/2014/main" id="{82F9C02E-6E50-426A-BD5A-84DF309B4E9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cs-CZ" dirty="0"/>
              <a:t>Automatizovat může každý</a:t>
            </a:r>
          </a:p>
        </p:txBody>
      </p:sp>
      <p:sp>
        <p:nvSpPr>
          <p:cNvPr id="3" name="Zástupný symbol pro číslo snímku 2">
            <a:extLst>
              <a:ext uri="{FF2B5EF4-FFF2-40B4-BE49-F238E27FC236}">
                <a16:creationId xmlns:a16="http://schemas.microsoft.com/office/drawing/2014/main" id="{8C3D5206-C693-4510-A78E-91BBFDC9F6A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6545F21-C657-4764-B5B2-92A02BE34E1E}" type="slidenum">
              <a:rPr lang="cs-CZ" smtClean="0"/>
              <a:pPr/>
              <a:t>3</a:t>
            </a:fld>
            <a:endParaRPr lang="cs-CZ">
              <a:latin typeface="+mj-lt"/>
            </a:endParaRPr>
          </a:p>
        </p:txBody>
      </p:sp>
      <p:sp>
        <p:nvSpPr>
          <p:cNvPr id="8" name="Nadpis 7">
            <a:extLst>
              <a:ext uri="{FF2B5EF4-FFF2-40B4-BE49-F238E27FC236}">
                <a16:creationId xmlns:a16="http://schemas.microsoft.com/office/drawing/2014/main" id="{BB75BBAA-EDB1-4CB3-A906-FD28D7B2A0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8469" y="1559603"/>
            <a:ext cx="2861267" cy="1354217"/>
          </a:xfrm>
        </p:spPr>
        <p:txBody>
          <a:bodyPr/>
          <a:lstStyle/>
          <a:p>
            <a:r>
              <a:rPr lang="cs-CZ" sz="4400" dirty="0"/>
              <a:t>Zdeněk Pytlíček</a:t>
            </a:r>
          </a:p>
        </p:txBody>
      </p:sp>
      <p:sp>
        <p:nvSpPr>
          <p:cNvPr id="14" name="Zástupný obsah 6">
            <a:extLst>
              <a:ext uri="{FF2B5EF4-FFF2-40B4-BE49-F238E27FC236}">
                <a16:creationId xmlns:a16="http://schemas.microsoft.com/office/drawing/2014/main" id="{CB6FCC97-0E1A-701D-19BC-1ABFDDF99C28}"/>
              </a:ext>
            </a:extLst>
          </p:cNvPr>
          <p:cNvSpPr txBox="1">
            <a:spLocks/>
          </p:cNvSpPr>
          <p:nvPr/>
        </p:nvSpPr>
        <p:spPr>
          <a:xfrm>
            <a:off x="4514064" y="2276872"/>
            <a:ext cx="3163871" cy="3928892"/>
          </a:xfrm>
          <a:prstGeom prst="rect">
            <a:avLst/>
          </a:prstGeom>
        </p:spPr>
        <p:txBody>
          <a:bodyPr lIns="0" tIns="0" rIns="0" bIns="0" numCol="1" spcCol="72000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400"/>
              </a:spcAft>
              <a:buFontTx/>
              <a:buNone/>
              <a:defRPr sz="14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88000" indent="-288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76000" indent="-288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76000" indent="-288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6000" indent="-288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Ø"/>
            </a:pPr>
            <a:r>
              <a:rPr lang="cs-CZ" sz="1800" dirty="0"/>
              <a:t>Teamleader </a:t>
            </a:r>
            <a:r>
              <a:rPr lang="cs-CZ" sz="1800" dirty="0" err="1"/>
              <a:t>Procurement</a:t>
            </a:r>
            <a:r>
              <a:rPr lang="cs-CZ" sz="1800" dirty="0"/>
              <a:t> Performance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cs-CZ" sz="1800" dirty="0"/>
              <a:t>Nadšenec do automatizace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cs-CZ" sz="1800" dirty="0"/>
              <a:t>Odpovídám za všechny činnosti nákupu při kterých se nenakupuje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Ø"/>
            </a:pPr>
            <a:r>
              <a:rPr lang="cs-CZ" sz="1800" dirty="0">
                <a:hlinkClick r:id="rId3"/>
              </a:rPr>
              <a:t>Zdeněk Pytlíček | LinkedIn</a:t>
            </a:r>
            <a:endParaRPr lang="cs-CZ" sz="1800" dirty="0"/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BD736524-F9A2-8541-B924-B13791B4974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040216" y="2164340"/>
            <a:ext cx="3096344" cy="39478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6388769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">
            <a:extLst>
              <a:ext uri="{FF2B5EF4-FFF2-40B4-BE49-F238E27FC236}">
                <a16:creationId xmlns:a16="http://schemas.microsoft.com/office/drawing/2014/main" id="{4757B15F-F973-4F1D-EE8F-BF362543652D}"/>
              </a:ext>
            </a:extLst>
          </p:cNvPr>
          <p:cNvSpPr>
            <a:spLocks noGrp="1"/>
          </p:cNvSpPr>
          <p:nvPr>
            <p:ph type="title" idx="4294967295"/>
          </p:nvPr>
        </p:nvSpPr>
        <p:spPr bwMode="gray">
          <a:xfrm>
            <a:off x="432048" y="504825"/>
            <a:ext cx="9984432" cy="369888"/>
          </a:xfrm>
        </p:spPr>
        <p:txBody>
          <a:bodyPr/>
          <a:lstStyle/>
          <a:p>
            <a:pPr>
              <a:spcBef>
                <a:spcPts val="600"/>
              </a:spcBef>
            </a:pPr>
            <a:r>
              <a:rPr lang="cs-CZ" sz="2800" dirty="0"/>
              <a:t>Načtení zdrojových dat + aktivace změny v cílové aplikaci</a:t>
            </a:r>
          </a:p>
        </p:txBody>
      </p:sp>
      <p:pic>
        <p:nvPicPr>
          <p:cNvPr id="3" name="Obrázek 2" descr="Obsah obrázku text, snímek obrazovky, Písmo, číslo&#10;&#10;Popis byl vytvořen automaticky">
            <a:extLst>
              <a:ext uri="{FF2B5EF4-FFF2-40B4-BE49-F238E27FC236}">
                <a16:creationId xmlns:a16="http://schemas.microsoft.com/office/drawing/2014/main" id="{CA63343F-2CD6-A01F-0B58-A28F8762CCE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5400" y="1268760"/>
            <a:ext cx="6092984" cy="3168352"/>
          </a:xfrm>
          <a:prstGeom prst="rect">
            <a:avLst/>
          </a:prstGeom>
        </p:spPr>
      </p:pic>
      <p:pic>
        <p:nvPicPr>
          <p:cNvPr id="5" name="Obrázek 4" descr="Obsah obrázku text, snímek obrazovky, Písmo, řada/pruh&#10;&#10;Popis byl vytvořen automaticky">
            <a:extLst>
              <a:ext uri="{FF2B5EF4-FFF2-40B4-BE49-F238E27FC236}">
                <a16:creationId xmlns:a16="http://schemas.microsoft.com/office/drawing/2014/main" id="{00D357F5-AB12-AC37-3117-0367F5DCF89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991544" y="4941168"/>
            <a:ext cx="9489078" cy="1186135"/>
          </a:xfrm>
          <a:prstGeom prst="rect">
            <a:avLst/>
          </a:prstGeom>
        </p:spPr>
      </p:pic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268990584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">
            <a:extLst>
              <a:ext uri="{FF2B5EF4-FFF2-40B4-BE49-F238E27FC236}">
                <a16:creationId xmlns:a16="http://schemas.microsoft.com/office/drawing/2014/main" id="{4757B15F-F973-4F1D-EE8F-BF362543652D}"/>
              </a:ext>
            </a:extLst>
          </p:cNvPr>
          <p:cNvSpPr>
            <a:spLocks noGrp="1"/>
          </p:cNvSpPr>
          <p:nvPr>
            <p:ph type="title" idx="4294967295"/>
          </p:nvPr>
        </p:nvSpPr>
        <p:spPr bwMode="gray">
          <a:xfrm>
            <a:off x="432048" y="504825"/>
            <a:ext cx="9984432" cy="369888"/>
          </a:xfrm>
        </p:spPr>
        <p:txBody>
          <a:bodyPr/>
          <a:lstStyle/>
          <a:p>
            <a:pPr>
              <a:spcBef>
                <a:spcPts val="600"/>
              </a:spcBef>
            </a:pPr>
            <a:r>
              <a:rPr lang="cs-CZ" sz="2800" dirty="0"/>
              <a:t>Vložení změněných údajů do cílové aplikace</a:t>
            </a: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6192B546-369A-0A55-C16F-7441D955A4B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07473" y="2728408"/>
            <a:ext cx="11108463" cy="1276656"/>
          </a:xfrm>
          <a:prstGeom prst="rect">
            <a:avLst/>
          </a:prstGeom>
        </p:spPr>
      </p:pic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1599884528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"/>
          <p:cNvSpPr>
            <a:spLocks noGrp="1"/>
          </p:cNvSpPr>
          <p:nvPr>
            <p:ph type="title" idx="4294967295"/>
          </p:nvPr>
        </p:nvSpPr>
        <p:spPr bwMode="gray">
          <a:xfrm>
            <a:off x="453794" y="393599"/>
            <a:ext cx="11183938" cy="875161"/>
          </a:xfrm>
        </p:spPr>
        <p:txBody>
          <a:bodyPr/>
          <a:lstStyle/>
          <a:p>
            <a:pPr>
              <a:spcBef>
                <a:spcPts val="600"/>
              </a:spcBef>
            </a:pPr>
            <a:r>
              <a:rPr lang="cs-CZ" sz="2400" dirty="0"/>
              <a:t>6. Pravidelné stahování dat (nákladná integrace systémů nebo aplikací)</a:t>
            </a:r>
            <a:br>
              <a:rPr lang="cs-CZ" sz="2400" dirty="0"/>
            </a:br>
            <a:br>
              <a:rPr lang="cs-CZ" sz="2400" dirty="0"/>
            </a:br>
            <a:endParaRPr lang="cs-CZ" sz="240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3B76FA9-F0A5-4FD8-3631-D31BF0B3F9D2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547994" y="1512565"/>
            <a:ext cx="4203700" cy="260251"/>
          </a:xfrm>
        </p:spPr>
        <p:txBody>
          <a:bodyPr/>
          <a:lstStyle/>
          <a:p>
            <a:pPr>
              <a:spcBef>
                <a:spcPts val="600"/>
              </a:spcBef>
            </a:pPr>
            <a:r>
              <a:rPr lang="cs-CZ" sz="1600" b="1" dirty="0" err="1"/>
              <a:t>Low-code</a:t>
            </a:r>
            <a:r>
              <a:rPr lang="cs-CZ" sz="1600" b="1" dirty="0"/>
              <a:t> / no-</a:t>
            </a:r>
            <a:r>
              <a:rPr lang="cs-CZ" sz="1600" b="1" dirty="0" err="1"/>
              <a:t>code</a:t>
            </a:r>
            <a:r>
              <a:rPr lang="cs-CZ" sz="1600" b="1" dirty="0"/>
              <a:t> nástroj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ED73500A-1872-D8A8-C9DC-32DF67272440}"/>
              </a:ext>
            </a:extLst>
          </p:cNvPr>
          <p:cNvSpPr txBox="1">
            <a:spLocks/>
          </p:cNvSpPr>
          <p:nvPr/>
        </p:nvSpPr>
        <p:spPr bwMode="black">
          <a:xfrm>
            <a:off x="671084" y="2060849"/>
            <a:ext cx="8161220" cy="122413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088558" rtl="0" eaLnBrk="1" latinLnBrk="0" hangingPunct="1">
              <a:spcBef>
                <a:spcPts val="1800"/>
              </a:spcBef>
              <a:buClrTx/>
              <a:buSzPct val="80000"/>
              <a:buFont typeface="72 Brand" panose="02000000000000000000" pitchFamily="2" charset="0"/>
              <a:buChar char="​"/>
              <a:defRPr sz="2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9964" indent="-179964" algn="l" defTabSz="1088558" rtl="0" eaLnBrk="1" latinLnBrk="0" hangingPunct="1">
              <a:spcBef>
                <a:spcPts val="6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–"/>
              <a:defRPr lang="en-US" sz="1800" b="0" i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892" indent="-179964" algn="l" defTabSz="1088558" rtl="0" eaLnBrk="1" latinLnBrk="0" hangingPunct="1">
              <a:spcBef>
                <a:spcPts val="300"/>
              </a:spcBef>
              <a:buClr>
                <a:schemeClr val="tx1"/>
              </a:buClr>
              <a:buSzPct val="80000"/>
              <a:buFont typeface="Courier New" panose="02070309020205020404" pitchFamily="49" charset="0"/>
              <a:buChar char="o"/>
              <a:defRPr sz="16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856" indent="-179964" algn="l" defTabSz="1088558" rtl="0" eaLnBrk="1" latinLnBrk="0" hangingPunct="1">
              <a:spcBef>
                <a:spcPts val="100"/>
              </a:spcBef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sz="1400" b="0" i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93535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7814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8209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26373" indent="-272140" algn="l" defTabSz="108855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  <a:buNone/>
            </a:pPr>
            <a:r>
              <a:rPr lang="cs-CZ" sz="1600" b="1" dirty="0"/>
              <a:t>Proces:</a:t>
            </a:r>
          </a:p>
          <a:p>
            <a:pPr marL="342797" indent="-342797">
              <a:spcBef>
                <a:spcPts val="600"/>
              </a:spcBef>
              <a:buSzPct val="100000"/>
              <a:buFont typeface="+mj-lt"/>
              <a:buAutoNum type="arabicPeriod"/>
            </a:pPr>
            <a:r>
              <a:rPr lang="pt-BR" sz="1600" dirty="0"/>
              <a:t>Přihlášení se do externí webové aplikace</a:t>
            </a:r>
            <a:endParaRPr lang="cs-CZ" sz="1600" dirty="0"/>
          </a:p>
          <a:p>
            <a:pPr marL="342797" indent="-342797">
              <a:spcBef>
                <a:spcPts val="600"/>
              </a:spcBef>
              <a:buSzPct val="100000"/>
              <a:buFont typeface="+mj-lt"/>
              <a:buAutoNum type="arabicPeriod"/>
            </a:pPr>
            <a:r>
              <a:rPr lang="cs-CZ" sz="1600" dirty="0"/>
              <a:t>Výběr filtrů pro export dat a spuštění exportu</a:t>
            </a:r>
          </a:p>
          <a:p>
            <a:pPr marL="342797" indent="-342797">
              <a:spcBef>
                <a:spcPts val="600"/>
              </a:spcBef>
              <a:buSzPct val="100000"/>
              <a:buFont typeface="+mj-lt"/>
              <a:buAutoNum type="arabicPeriod"/>
            </a:pPr>
            <a:r>
              <a:rPr lang="cs-CZ" sz="1600" dirty="0"/>
              <a:t>Uložení exportovaných dat do složky nebo odeslání emailem</a:t>
            </a:r>
            <a:endParaRPr lang="en-US" sz="1600" dirty="0"/>
          </a:p>
        </p:txBody>
      </p:sp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5" name="Náhled snímku 4">
                <a:extLst>
                  <a:ext uri="{FF2B5EF4-FFF2-40B4-BE49-F238E27FC236}">
                    <a16:creationId xmlns:a16="http://schemas.microsoft.com/office/drawing/2014/main" id="{244C732B-008D-6B7F-5A79-23843BAC984D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3757310319"/>
                  </p:ext>
                </p:extLst>
              </p:nvPr>
            </p:nvGraphicFramePr>
            <p:xfrm>
              <a:off x="550765" y="3789040"/>
              <a:ext cx="3560060" cy="2002534"/>
            </p:xfrm>
            <a:graphic>
              <a:graphicData uri="http://schemas.microsoft.com/office/powerpoint/2016/slidezoom">
                <pslz:sldZm>
                  <pslz:sldZmObj sldId="2147483602" cId="3797411274">
                    <pslz:zmPr id="{32635562-5C31-44F1-8B86-91319B956E76}" returnToParent="0" transitionDur="1000">
                      <p166:blipFill xmlns:p166="http://schemas.microsoft.com/office/powerpoint/2016/6/main">
                        <a:blip r:embed="rId6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3560060" cy="2002534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5" name="Náhled snímku 4">
                <a:extLst>
                  <a:ext uri="{FF2B5EF4-FFF2-40B4-BE49-F238E27FC236}">
                    <a16:creationId xmlns:a16="http://schemas.microsoft.com/office/drawing/2014/main" id="{244C732B-008D-6B7F-5A79-23843BAC984D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550765" y="3789040"/>
                <a:ext cx="3560060" cy="2002534"/>
              </a:xfrm>
              <a:prstGeom prst="rect">
                <a:avLst/>
              </a:prstGeom>
              <a:ln w="3175">
                <a:solidFill>
                  <a:prstClr val="ltGray"/>
                </a:solidFill>
              </a:ln>
            </p:spPr>
          </p:pic>
        </mc:Fallback>
      </mc:AlternateContent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9" name="Náhled snímku 8">
                <a:extLst>
                  <a:ext uri="{FF2B5EF4-FFF2-40B4-BE49-F238E27FC236}">
                    <a16:creationId xmlns:a16="http://schemas.microsoft.com/office/drawing/2014/main" id="{9B79BB08-BE61-4B5B-4FCE-88CD6A712527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4111497217"/>
                  </p:ext>
                </p:extLst>
              </p:nvPr>
            </p:nvGraphicFramePr>
            <p:xfrm>
              <a:off x="4351664" y="3789040"/>
              <a:ext cx="3560060" cy="2002534"/>
            </p:xfrm>
            <a:graphic>
              <a:graphicData uri="http://schemas.microsoft.com/office/powerpoint/2016/slidezoom">
                <pslz:sldZm>
                  <pslz:sldZmObj sldId="2147483605" cId="4287846463">
                    <pslz:zmPr id="{DE41E0E9-1C63-4842-B02C-68858C227650}" returnToParent="0" transitionDur="1000">
                      <p166:blipFill xmlns:p166="http://schemas.microsoft.com/office/powerpoint/2016/6/main">
                        <a:blip r:embed="rId8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3560060" cy="2002534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9" name="Náhled snímku 8">
                <a:extLst>
                  <a:ext uri="{FF2B5EF4-FFF2-40B4-BE49-F238E27FC236}">
                    <a16:creationId xmlns:a16="http://schemas.microsoft.com/office/drawing/2014/main" id="{9B79BB08-BE61-4B5B-4FCE-88CD6A712527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4351664" y="3789040"/>
                <a:ext cx="3560060" cy="2002534"/>
              </a:xfrm>
              <a:prstGeom prst="rect">
                <a:avLst/>
              </a:prstGeom>
              <a:ln w="3175">
                <a:solidFill>
                  <a:prstClr val="ltGray"/>
                </a:solidFill>
              </a:ln>
            </p:spPr>
          </p:pic>
        </mc:Fallback>
      </mc:AlternateContent>
      <mc:AlternateContent xmlns:mc="http://schemas.openxmlformats.org/markup-compatibility/2006" xmlns:pslz="http://schemas.microsoft.com/office/powerpoint/2016/slidezoom">
        <mc:Choice Requires="pslz">
          <p:graphicFrame>
            <p:nvGraphicFramePr>
              <p:cNvPr id="11" name="Náhled snímku 10">
                <a:extLst>
                  <a:ext uri="{FF2B5EF4-FFF2-40B4-BE49-F238E27FC236}">
                    <a16:creationId xmlns:a16="http://schemas.microsoft.com/office/drawing/2014/main" id="{D4CCE725-C982-D597-E9D7-BF2BF134F63C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1360670166"/>
                  </p:ext>
                </p:extLst>
              </p:nvPr>
            </p:nvGraphicFramePr>
            <p:xfrm>
              <a:off x="8152564" y="3789040"/>
              <a:ext cx="3560060" cy="2002534"/>
            </p:xfrm>
            <a:graphic>
              <a:graphicData uri="http://schemas.microsoft.com/office/powerpoint/2016/slidezoom">
                <pslz:sldZm>
                  <pslz:sldZmObj sldId="2147483606" cId="3606197900">
                    <pslz:zmPr id="{ECBC7ACF-7C42-4540-9567-6C7D9E5CC184}" returnToParent="0" transitionDur="1000">
                      <p166:blipFill xmlns:p166="http://schemas.microsoft.com/office/powerpoint/2016/6/main">
                        <a:blip r:embed="rId10"/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3560060" cy="2002534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lz:zmPr>
                  </pslz:sldZmObj>
                </pslz:sldZm>
              </a:graphicData>
            </a:graphic>
          </p:graphicFrame>
        </mc:Choice>
        <mc:Fallback xmlns="">
          <p:pic>
            <p:nvPicPr>
              <p:cNvPr id="11" name="Náhled snímku 10">
                <a:extLst>
                  <a:ext uri="{FF2B5EF4-FFF2-40B4-BE49-F238E27FC236}">
                    <a16:creationId xmlns:a16="http://schemas.microsoft.com/office/drawing/2014/main" id="{D4CCE725-C982-D597-E9D7-BF2BF134F63C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8152564" y="3789040"/>
                <a:ext cx="3560060" cy="2002534"/>
              </a:xfrm>
              <a:prstGeom prst="rect">
                <a:avLst/>
              </a:prstGeom>
              <a:ln w="3175">
                <a:solidFill>
                  <a:prstClr val="ltGray"/>
                </a:solidFill>
              </a:ln>
            </p:spPr>
          </p:pic>
        </mc:Fallback>
      </mc:AlternateContent>
    </p:spTree>
    <p:custDataLst>
      <p:custData r:id="rId2"/>
      <p:custData r:id="rId3"/>
    </p:custDataLst>
    <p:extLst>
      <p:ext uri="{BB962C8B-B14F-4D97-AF65-F5344CB8AC3E}">
        <p14:creationId xmlns:p14="http://schemas.microsoft.com/office/powerpoint/2010/main" val="215196912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 advTm="0"/>
    </mc:Choice>
    <mc:Fallback xmlns="">
      <p:transition advTm="0"/>
    </mc:Fallback>
  </mc:AlternateContent>
  <p:extLst>
    <p:ext uri="{6950BFC3-D8DA-4A85-94F7-54DA5524770B}">
      <p188:commentRel xmlns:p188="http://schemas.microsoft.com/office/powerpoint/2018/8/main" r:id="rId5"/>
    </p:ext>
  </p:extLs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">
            <a:extLst>
              <a:ext uri="{FF2B5EF4-FFF2-40B4-BE49-F238E27FC236}">
                <a16:creationId xmlns:a16="http://schemas.microsoft.com/office/drawing/2014/main" id="{4757B15F-F973-4F1D-EE8F-BF362543652D}"/>
              </a:ext>
            </a:extLst>
          </p:cNvPr>
          <p:cNvSpPr>
            <a:spLocks noGrp="1"/>
          </p:cNvSpPr>
          <p:nvPr>
            <p:ph type="title" idx="4294967295"/>
          </p:nvPr>
        </p:nvSpPr>
        <p:spPr bwMode="gray">
          <a:xfrm>
            <a:off x="432048" y="504825"/>
            <a:ext cx="9984432" cy="369888"/>
          </a:xfrm>
        </p:spPr>
        <p:txBody>
          <a:bodyPr/>
          <a:lstStyle/>
          <a:p>
            <a:pPr>
              <a:spcBef>
                <a:spcPts val="600"/>
              </a:spcBef>
            </a:pPr>
            <a:r>
              <a:rPr lang="cs-CZ" sz="2800" dirty="0"/>
              <a:t>Přihlášení se do externí webové aplikace</a:t>
            </a:r>
          </a:p>
        </p:txBody>
      </p:sp>
      <p:pic>
        <p:nvPicPr>
          <p:cNvPr id="3" name="Obrázek 2" descr="Obsah obrázku snímek obrazovky, design&#10;&#10;Popis byl vytvořen automaticky">
            <a:extLst>
              <a:ext uri="{FF2B5EF4-FFF2-40B4-BE49-F238E27FC236}">
                <a16:creationId xmlns:a16="http://schemas.microsoft.com/office/drawing/2014/main" id="{7F09CEA0-E731-5E34-1DCB-DA3946895B6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11288" y="1196752"/>
            <a:ext cx="5760776" cy="3264163"/>
          </a:xfrm>
          <a:prstGeom prst="rect">
            <a:avLst/>
          </a:prstGeom>
        </p:spPr>
      </p:pic>
      <p:pic>
        <p:nvPicPr>
          <p:cNvPr id="4" name="Obrázek 3" descr="Obsah obrázku text, software, Písmo, řada/pruh&#10;&#10;Popis byl vytvořen automaticky">
            <a:extLst>
              <a:ext uri="{FF2B5EF4-FFF2-40B4-BE49-F238E27FC236}">
                <a16:creationId xmlns:a16="http://schemas.microsoft.com/office/drawing/2014/main" id="{CC878974-C690-A90D-512E-4150C9872BE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503081" y="4648879"/>
            <a:ext cx="7705487" cy="1660441"/>
          </a:xfrm>
          <a:prstGeom prst="rect">
            <a:avLst/>
          </a:prstGeom>
        </p:spPr>
      </p:pic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3797411274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">
            <a:extLst>
              <a:ext uri="{FF2B5EF4-FFF2-40B4-BE49-F238E27FC236}">
                <a16:creationId xmlns:a16="http://schemas.microsoft.com/office/drawing/2014/main" id="{4757B15F-F973-4F1D-EE8F-BF362543652D}"/>
              </a:ext>
            </a:extLst>
          </p:cNvPr>
          <p:cNvSpPr>
            <a:spLocks noGrp="1"/>
          </p:cNvSpPr>
          <p:nvPr>
            <p:ph type="title" idx="4294967295"/>
          </p:nvPr>
        </p:nvSpPr>
        <p:spPr bwMode="gray">
          <a:xfrm>
            <a:off x="432048" y="504825"/>
            <a:ext cx="9984432" cy="369888"/>
          </a:xfrm>
        </p:spPr>
        <p:txBody>
          <a:bodyPr/>
          <a:lstStyle/>
          <a:p>
            <a:pPr>
              <a:spcBef>
                <a:spcPts val="600"/>
              </a:spcBef>
            </a:pPr>
            <a:r>
              <a:rPr lang="cs-CZ" sz="3200" dirty="0"/>
              <a:t>Výběr filtrů pro export dat a spuštění exportu</a:t>
            </a:r>
          </a:p>
        </p:txBody>
      </p:sp>
      <p:pic>
        <p:nvPicPr>
          <p:cNvPr id="5" name="Obrázek 4" descr="Obsah obrázku text, snímek obrazovky, Písmo, řada/pruh&#10;&#10;Popis byl vytvořen automaticky">
            <a:extLst>
              <a:ext uri="{FF2B5EF4-FFF2-40B4-BE49-F238E27FC236}">
                <a16:creationId xmlns:a16="http://schemas.microsoft.com/office/drawing/2014/main" id="{B9BF9B5F-3AD8-F85A-5B67-D8D42D699EE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28491" y="2132856"/>
            <a:ext cx="10735017" cy="3096344"/>
          </a:xfrm>
          <a:prstGeom prst="rect">
            <a:avLst/>
          </a:prstGeom>
        </p:spPr>
      </p:pic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4287846463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">
            <a:extLst>
              <a:ext uri="{FF2B5EF4-FFF2-40B4-BE49-F238E27FC236}">
                <a16:creationId xmlns:a16="http://schemas.microsoft.com/office/drawing/2014/main" id="{4757B15F-F973-4F1D-EE8F-BF362543652D}"/>
              </a:ext>
            </a:extLst>
          </p:cNvPr>
          <p:cNvSpPr>
            <a:spLocks noGrp="1"/>
          </p:cNvSpPr>
          <p:nvPr>
            <p:ph type="title" idx="4294967295"/>
          </p:nvPr>
        </p:nvSpPr>
        <p:spPr bwMode="gray">
          <a:xfrm>
            <a:off x="432048" y="504825"/>
            <a:ext cx="11424592" cy="369888"/>
          </a:xfrm>
        </p:spPr>
        <p:txBody>
          <a:bodyPr/>
          <a:lstStyle/>
          <a:p>
            <a:pPr>
              <a:spcBef>
                <a:spcPts val="600"/>
              </a:spcBef>
            </a:pPr>
            <a:r>
              <a:rPr lang="cs-CZ" sz="3200" dirty="0"/>
              <a:t>Uložení exportovaných dat do složky nebo odeslání emailem</a:t>
            </a: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CC4580ED-277F-11D5-A77A-5A6AC254E5D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919536" y="1772816"/>
            <a:ext cx="7915266" cy="4460395"/>
          </a:xfrm>
          <a:prstGeom prst="rect">
            <a:avLst/>
          </a:prstGeom>
        </p:spPr>
      </p:pic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3606197900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text 1">
            <a:extLst>
              <a:ext uri="{FF2B5EF4-FFF2-40B4-BE49-F238E27FC236}">
                <a16:creationId xmlns:a16="http://schemas.microsoft.com/office/drawing/2014/main" id="{82F9C02E-6E50-426A-BD5A-84DF309B4E9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67808" y="836712"/>
            <a:ext cx="7044200" cy="648072"/>
          </a:xfrm>
        </p:spPr>
        <p:txBody>
          <a:bodyPr/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cs-CZ" sz="3200" dirty="0">
                <a:ea typeface="+mj-ea"/>
                <a:cs typeface="+mj-cs"/>
              </a:rPr>
              <a:t>Automat nahrazuje ruce, nikoliv hlavu</a:t>
            </a:r>
          </a:p>
        </p:txBody>
      </p:sp>
      <p:sp>
        <p:nvSpPr>
          <p:cNvPr id="3" name="Zástupný symbol pro číslo snímku 2">
            <a:extLst>
              <a:ext uri="{FF2B5EF4-FFF2-40B4-BE49-F238E27FC236}">
                <a16:creationId xmlns:a16="http://schemas.microsoft.com/office/drawing/2014/main" id="{8C3D5206-C693-4510-A78E-91BBFDC9F6A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6545F21-C657-4764-B5B2-92A02BE34E1E}" type="slidenum">
              <a:rPr lang="cs-CZ" smtClean="0"/>
              <a:pPr/>
              <a:t>36</a:t>
            </a:fld>
            <a:endParaRPr lang="cs-CZ">
              <a:latin typeface="+mj-lt"/>
            </a:endParaRPr>
          </a:p>
        </p:txBody>
      </p:sp>
      <p:sp>
        <p:nvSpPr>
          <p:cNvPr id="5" name="Zástupný obsah 4">
            <a:extLst>
              <a:ext uri="{FF2B5EF4-FFF2-40B4-BE49-F238E27FC236}">
                <a16:creationId xmlns:a16="http://schemas.microsoft.com/office/drawing/2014/main" id="{87E35A90-CA44-4E75-AEE4-A4F0AE97B002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380392" y="1844824"/>
            <a:ext cx="7044200" cy="2952328"/>
          </a:xfrm>
        </p:spPr>
        <p:txBody>
          <a:bodyPr/>
          <a:lstStyle/>
          <a:p>
            <a:pPr marL="514350" indent="-514350">
              <a:spcAft>
                <a:spcPts val="900"/>
              </a:spcAft>
              <a:buFont typeface="+mj-lt"/>
              <a:buAutoNum type="arabicPeriod"/>
            </a:pPr>
            <a:r>
              <a:rPr lang="cs-CZ" sz="2200" dirty="0"/>
              <a:t>Strukturované, opakované činnosti bez přidané hodnoty člověka</a:t>
            </a:r>
          </a:p>
          <a:p>
            <a:pPr marL="514350" indent="-514350">
              <a:spcAft>
                <a:spcPts val="900"/>
              </a:spcAft>
              <a:buFont typeface="+mj-lt"/>
              <a:buAutoNum type="arabicPeriod"/>
            </a:pPr>
            <a:r>
              <a:rPr lang="cs-CZ" sz="2200" dirty="0"/>
              <a:t>Pro jednu nebo více osob</a:t>
            </a:r>
          </a:p>
          <a:p>
            <a:pPr marL="514350" indent="-514350">
              <a:spcAft>
                <a:spcPts val="900"/>
              </a:spcAft>
              <a:buFont typeface="+mj-lt"/>
              <a:buAutoNum type="arabicPeriod"/>
            </a:pPr>
            <a:r>
              <a:rPr lang="cs-CZ" sz="2200" dirty="0"/>
              <a:t>Je proces skutečně potřeba, přináší něco?</a:t>
            </a:r>
          </a:p>
          <a:p>
            <a:pPr marL="514350" indent="-514350">
              <a:spcAft>
                <a:spcPts val="900"/>
              </a:spcAft>
              <a:buFont typeface="+mj-lt"/>
              <a:buAutoNum type="arabicPeriod"/>
            </a:pPr>
            <a:r>
              <a:rPr lang="cs-CZ" sz="2200" dirty="0"/>
              <a:t>Nejde to jinak nebo nedělá to už někdo jiný?</a:t>
            </a:r>
          </a:p>
          <a:p>
            <a:pPr marL="514350" indent="-514350">
              <a:spcAft>
                <a:spcPts val="900"/>
              </a:spcAft>
              <a:buFont typeface="+mj-lt"/>
              <a:buAutoNum type="arabicPeriod"/>
            </a:pPr>
            <a:r>
              <a:rPr lang="cs-CZ" sz="2200" dirty="0"/>
              <a:t>Jsou všechny kroky procesu nezbytné, fakt to už nejde více zjednodušit?</a:t>
            </a:r>
          </a:p>
        </p:txBody>
      </p:sp>
      <p:sp>
        <p:nvSpPr>
          <p:cNvPr id="8" name="Nadpis 7">
            <a:extLst>
              <a:ext uri="{FF2B5EF4-FFF2-40B4-BE49-F238E27FC236}">
                <a16:creationId xmlns:a16="http://schemas.microsoft.com/office/drawing/2014/main" id="{BB75BBAA-EDB1-4CB3-A906-FD28D7B2A0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8469" y="1559603"/>
            <a:ext cx="2797485" cy="3939540"/>
          </a:xfrm>
        </p:spPr>
        <p:txBody>
          <a:bodyPr/>
          <a:lstStyle/>
          <a:p>
            <a:r>
              <a:rPr lang="cs-CZ" dirty="0"/>
              <a:t>Shrnutí</a:t>
            </a:r>
            <a:br>
              <a:rPr lang="cs-CZ" dirty="0"/>
            </a:br>
            <a:br>
              <a:rPr lang="cs-CZ" dirty="0"/>
            </a:br>
            <a:br>
              <a:rPr lang="cs-CZ" dirty="0"/>
            </a:br>
            <a:r>
              <a:rPr lang="cs-CZ" dirty="0"/>
              <a:t>Automatizovat může kdokoliv, i bez znalostí programování</a:t>
            </a:r>
            <a:br>
              <a:rPr lang="cs-CZ" dirty="0"/>
            </a:br>
            <a:endParaRPr lang="cs-CZ" dirty="0"/>
          </a:p>
        </p:txBody>
      </p:sp>
      <p:sp>
        <p:nvSpPr>
          <p:cNvPr id="9" name="Zástupný text 1">
            <a:extLst>
              <a:ext uri="{FF2B5EF4-FFF2-40B4-BE49-F238E27FC236}">
                <a16:creationId xmlns:a16="http://schemas.microsoft.com/office/drawing/2014/main" id="{010907F1-75D5-3970-5CFF-FA2E5B4571B0}"/>
              </a:ext>
            </a:extLst>
          </p:cNvPr>
          <p:cNvSpPr txBox="1">
            <a:spLocks/>
          </p:cNvSpPr>
          <p:nvPr/>
        </p:nvSpPr>
        <p:spPr>
          <a:xfrm>
            <a:off x="4829568" y="5157192"/>
            <a:ext cx="6120680" cy="936104"/>
          </a:xfrm>
          <a:prstGeom prst="rect">
            <a:avLst/>
          </a:prstGeom>
        </p:spPr>
        <p:txBody>
          <a:bodyPr lIns="0" tIns="0" rIns="0" bIns="0"/>
          <a:lstStyle>
            <a:lvl1pPr indent="0">
              <a:lnSpc>
                <a:spcPct val="90000"/>
              </a:lnSpc>
              <a:spcBef>
                <a:spcPts val="600"/>
              </a:spcBef>
              <a:spcAft>
                <a:spcPts val="400"/>
              </a:spcAft>
              <a:buFont typeface="Arial" pitchFamily="34" charset="0"/>
              <a:buNone/>
              <a:defRPr sz="3200" baseline="0">
                <a:latin typeface="+mj-lt"/>
                <a:ea typeface="+mj-ea"/>
                <a:cs typeface="+mj-cs"/>
              </a:defRPr>
            </a:lvl1pPr>
            <a:lvl2pPr marL="324000" indent="-324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400"/>
            </a:lvl2pPr>
            <a:lvl3pPr marL="324000" indent="-324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400"/>
            </a:lvl3pPr>
            <a:lvl4pPr marL="576000" indent="-288000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400" b="0"/>
            </a:lvl4pPr>
            <a:lvl5pPr marL="576000" indent="-288000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"/>
              <a:defRPr sz="14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algn="ctr"/>
            <a:r>
              <a:rPr lang="cs-CZ" dirty="0"/>
              <a:t>Týmová práce</a:t>
            </a:r>
          </a:p>
          <a:p>
            <a:pPr algn="ctr"/>
            <a:r>
              <a:rPr lang="cs-CZ" dirty="0"/>
              <a:t>IT, </a:t>
            </a:r>
            <a:r>
              <a:rPr lang="cs-CZ" dirty="0" err="1"/>
              <a:t>Cyber</a:t>
            </a:r>
            <a:r>
              <a:rPr lang="cs-CZ" dirty="0"/>
              <a:t> </a:t>
            </a:r>
            <a:r>
              <a:rPr lang="cs-CZ" dirty="0" err="1"/>
              <a:t>Security</a:t>
            </a:r>
            <a:r>
              <a:rPr lang="cs-CZ" dirty="0"/>
              <a:t>, HR, Business</a:t>
            </a:r>
          </a:p>
        </p:txBody>
      </p:sp>
    </p:spTree>
    <p:extLst>
      <p:ext uri="{BB962C8B-B14F-4D97-AF65-F5344CB8AC3E}">
        <p14:creationId xmlns:p14="http://schemas.microsoft.com/office/powerpoint/2010/main" val="1092715146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B2740C19-A69C-4C68-96C5-E1B990307A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Děkuji za pozornost</a:t>
            </a:r>
          </a:p>
        </p:txBody>
      </p:sp>
    </p:spTree>
    <p:extLst>
      <p:ext uri="{BB962C8B-B14F-4D97-AF65-F5344CB8AC3E}">
        <p14:creationId xmlns:p14="http://schemas.microsoft.com/office/powerpoint/2010/main" val="197326584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text 5">
            <a:extLst>
              <a:ext uri="{FF2B5EF4-FFF2-40B4-BE49-F238E27FC236}">
                <a16:creationId xmlns:a16="http://schemas.microsoft.com/office/drawing/2014/main" id="{7C4E4BB0-05E4-48F2-827B-2DFA2B19E8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3998" y="548680"/>
            <a:ext cx="11184002" cy="576000"/>
          </a:xfrm>
        </p:spPr>
        <p:txBody>
          <a:bodyPr/>
          <a:lstStyle/>
          <a:p>
            <a:r>
              <a:rPr lang="cs-CZ" sz="2800" dirty="0"/>
              <a:t>Cesta společnosti GasNet ke zvyšování efektivity procesů - </a:t>
            </a:r>
            <a:r>
              <a:rPr lang="cs-CZ" sz="2800" cap="all" dirty="0"/>
              <a:t>evoluce</a:t>
            </a:r>
          </a:p>
        </p:txBody>
      </p:sp>
      <p:sp>
        <p:nvSpPr>
          <p:cNvPr id="21" name="Zástupný symbol pro číslo snímku 20">
            <a:extLst>
              <a:ext uri="{FF2B5EF4-FFF2-40B4-BE49-F238E27FC236}">
                <a16:creationId xmlns:a16="http://schemas.microsoft.com/office/drawing/2014/main" id="{11B9916C-FE2D-4AED-B527-F52B889B3E2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6545F21-C657-4764-B5B2-92A02BE34E1E}" type="slidenum">
              <a:rPr lang="cs-CZ" smtClean="0"/>
              <a:pPr/>
              <a:t>4</a:t>
            </a:fld>
            <a:endParaRPr lang="cs-CZ"/>
          </a:p>
        </p:txBody>
      </p:sp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F99BAFF6-ADC4-FE65-7F9D-37A7EF033B2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9056618"/>
              </p:ext>
            </p:extLst>
          </p:nvPr>
        </p:nvGraphicFramePr>
        <p:xfrm>
          <a:off x="504000" y="908720"/>
          <a:ext cx="11233248" cy="561662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pSp>
        <p:nvGrpSpPr>
          <p:cNvPr id="7" name="Skupina 1">
            <a:extLst>
              <a:ext uri="{FF2B5EF4-FFF2-40B4-BE49-F238E27FC236}">
                <a16:creationId xmlns:a16="http://schemas.microsoft.com/office/drawing/2014/main" id="{E51D6403-3DF6-1416-380B-ABC2E7D1984A}"/>
              </a:ext>
            </a:extLst>
          </p:cNvPr>
          <p:cNvGrpSpPr/>
          <p:nvPr/>
        </p:nvGrpSpPr>
        <p:grpSpPr>
          <a:xfrm>
            <a:off x="503997" y="5445224"/>
            <a:ext cx="11186479" cy="1003974"/>
            <a:chOff x="4371116" y="3996256"/>
            <a:chExt cx="2490632" cy="1389365"/>
          </a:xfrm>
        </p:grpSpPr>
        <p:sp>
          <p:nvSpPr>
            <p:cNvPr id="8" name="Šipka: doprava 2">
              <a:extLst>
                <a:ext uri="{FF2B5EF4-FFF2-40B4-BE49-F238E27FC236}">
                  <a16:creationId xmlns:a16="http://schemas.microsoft.com/office/drawing/2014/main" id="{C255EAD2-194A-660E-BA3E-33C609F7A2BE}"/>
                </a:ext>
              </a:extLst>
            </p:cNvPr>
            <p:cNvSpPr/>
            <p:nvPr/>
          </p:nvSpPr>
          <p:spPr>
            <a:xfrm>
              <a:off x="4371117" y="3996256"/>
              <a:ext cx="2490631" cy="1389365"/>
            </a:xfrm>
            <a:prstGeom prst="rightArrow">
              <a:avLst>
                <a:gd name="adj1" fmla="val 50000"/>
                <a:gd name="adj2" fmla="val 50000"/>
              </a:avLst>
            </a:prstGeom>
            <a:ln>
              <a:solidFill>
                <a:schemeClr val="tx1"/>
              </a:solidFill>
            </a:ln>
            <a:effectLst/>
            <a:scene3d>
              <a:camera prst="orthographicFront"/>
              <a:lightRig rig="balanced" dir="t">
                <a:rot lat="0" lon="0" rev="13800000"/>
              </a:lightRig>
            </a:scene3d>
            <a:sp3d extrusionH="12700" prstMaterial="plastic">
              <a:contourClr>
                <a:schemeClr val="accent2">
                  <a:hueOff val="-6649541"/>
                  <a:satOff val="-60009"/>
                  <a:lumOff val="61570"/>
                  <a:alphaOff val="0"/>
                </a:schemeClr>
              </a:contourClr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2">
                <a:hueOff val="-6649541"/>
                <a:satOff val="-60009"/>
                <a:lumOff val="61570"/>
                <a:alphaOff val="0"/>
              </a:schemeClr>
            </a:fillRef>
            <a:effectRef idx="3">
              <a:schemeClr val="accent2">
                <a:hueOff val="-6649541"/>
                <a:satOff val="-60009"/>
                <a:lumOff val="6157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cs-CZ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72 Brand" panose="020B0504030603020204" pitchFamily="34" charset="0"/>
              </a:endParaRPr>
            </a:p>
          </p:txBody>
        </p:sp>
        <p:sp>
          <p:nvSpPr>
            <p:cNvPr id="10" name="Šipka: doprava 4">
              <a:extLst>
                <a:ext uri="{FF2B5EF4-FFF2-40B4-BE49-F238E27FC236}">
                  <a16:creationId xmlns:a16="http://schemas.microsoft.com/office/drawing/2014/main" id="{BE3178EB-90C6-9B3D-BAAC-EDD9A31F5C0B}"/>
                </a:ext>
              </a:extLst>
            </p:cNvPr>
            <p:cNvSpPr txBox="1"/>
            <p:nvPr/>
          </p:nvSpPr>
          <p:spPr>
            <a:xfrm>
              <a:off x="4371116" y="4484380"/>
              <a:ext cx="2143290" cy="694683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06680" tIns="106680" rIns="254000" bIns="220562" numCol="1" spcCol="1270" anchor="b" anchorCtr="0">
              <a:noAutofit/>
            </a:bodyPr>
            <a:lstStyle/>
            <a:p>
              <a:pPr marL="0" marR="0" lvl="0" indent="0" algn="ctr" defTabSz="12446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2000" b="1" i="0" u="none" strike="noStrike" kern="1200" cap="none" spc="0" normalizeH="0" baseline="0" noProof="0" dirty="0">
                  <a:ln w="22225">
                    <a:prstDash val="solid"/>
                  </a:ln>
                  <a:solidFill>
                    <a:prstClr val="black"/>
                  </a:solidFill>
                  <a:effectLst/>
                  <a:uLnTx/>
                  <a:uFillTx/>
                  <a:latin typeface="72 Brand" panose="020B0504030603020204" pitchFamily="34" charset="0"/>
                </a:rPr>
                <a:t>Integrace – programová úprava nastavení systému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55713990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text 1">
            <a:extLst>
              <a:ext uri="{FF2B5EF4-FFF2-40B4-BE49-F238E27FC236}">
                <a16:creationId xmlns:a16="http://schemas.microsoft.com/office/drawing/2014/main" id="{82F9C02E-6E50-426A-BD5A-84DF309B4E9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09956" y="629490"/>
            <a:ext cx="6842257" cy="1008112"/>
          </a:xfrm>
        </p:spPr>
        <p:txBody>
          <a:bodyPr/>
          <a:lstStyle/>
          <a:p>
            <a:pPr algn="ctr"/>
            <a:r>
              <a:rPr lang="cs-CZ" sz="2800" dirty="0"/>
              <a:t>Nastavit pravidla a nevstupovat do procesů – člověk je zdrojem chyb</a:t>
            </a:r>
          </a:p>
        </p:txBody>
      </p:sp>
      <p:sp>
        <p:nvSpPr>
          <p:cNvPr id="3" name="Zástupný symbol pro číslo snímku 2">
            <a:extLst>
              <a:ext uri="{FF2B5EF4-FFF2-40B4-BE49-F238E27FC236}">
                <a16:creationId xmlns:a16="http://schemas.microsoft.com/office/drawing/2014/main" id="{8C3D5206-C693-4510-A78E-91BBFDC9F6A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6545F21-C657-4764-B5B2-92A02BE34E1E}" type="slidenum">
              <a:rPr lang="cs-CZ" smtClean="0"/>
              <a:pPr/>
              <a:t>5</a:t>
            </a:fld>
            <a:endParaRPr lang="cs-CZ">
              <a:latin typeface="+mj-lt"/>
            </a:endParaRP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8FF13764-EB75-4EB0-B4EC-E454B1C7A20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514064" y="1844864"/>
            <a:ext cx="3163871" cy="360000"/>
          </a:xfrm>
          <a:solidFill>
            <a:srgbClr val="64B42D"/>
          </a:solidFill>
          <a:ln>
            <a:solidFill>
              <a:schemeClr val="accent1"/>
            </a:solidFill>
          </a:ln>
        </p:spPr>
        <p:txBody>
          <a:bodyPr/>
          <a:lstStyle/>
          <a:p>
            <a:r>
              <a:rPr lang="cs-CZ" dirty="0"/>
              <a:t> </a:t>
            </a:r>
          </a:p>
        </p:txBody>
      </p:sp>
      <p:sp>
        <p:nvSpPr>
          <p:cNvPr id="5" name="Zástupný obsah 4">
            <a:extLst>
              <a:ext uri="{FF2B5EF4-FFF2-40B4-BE49-F238E27FC236}">
                <a16:creationId xmlns:a16="http://schemas.microsoft.com/office/drawing/2014/main" id="{87E35A90-CA44-4E75-AEE4-A4F0AE97B002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509956" y="2564904"/>
            <a:ext cx="3163871" cy="3663606"/>
          </a:xfrm>
        </p:spPr>
        <p:txBody>
          <a:bodyPr/>
          <a:lstStyle/>
          <a:p>
            <a:pPr marL="354013" indent="-354013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cs-CZ" sz="2400" dirty="0"/>
              <a:t>Identifikovat zdroj(e) informace a spotřebitele informace</a:t>
            </a:r>
          </a:p>
          <a:p>
            <a:pPr marL="354013" indent="-354013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cs-CZ" sz="2400" dirty="0"/>
              <a:t>Najít nejkratší cestu mezi zdrojem a spotřebitelem</a:t>
            </a:r>
          </a:p>
          <a:p>
            <a:pPr marL="354013" indent="-354013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cs-CZ" sz="2400" dirty="0"/>
              <a:t>Vyvážit úroveň rizika a jeho zajištění</a:t>
            </a:r>
          </a:p>
        </p:txBody>
      </p:sp>
      <p:sp>
        <p:nvSpPr>
          <p:cNvPr id="6" name="Zástupný text 5">
            <a:extLst>
              <a:ext uri="{FF2B5EF4-FFF2-40B4-BE49-F238E27FC236}">
                <a16:creationId xmlns:a16="http://schemas.microsoft.com/office/drawing/2014/main" id="{7E8FCC90-745A-442F-9BBC-6DE6321C538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188342" y="1844864"/>
            <a:ext cx="3163871" cy="360000"/>
          </a:xfrm>
          <a:solidFill>
            <a:srgbClr val="FF0000"/>
          </a:solidFill>
          <a:ln>
            <a:solidFill>
              <a:srgbClr val="FF0000"/>
            </a:solidFill>
          </a:ln>
        </p:spPr>
        <p:txBody>
          <a:bodyPr/>
          <a:lstStyle/>
          <a:p>
            <a:r>
              <a:rPr lang="cs-CZ" dirty="0"/>
              <a:t> </a:t>
            </a:r>
          </a:p>
        </p:txBody>
      </p:sp>
      <p:sp>
        <p:nvSpPr>
          <p:cNvPr id="7" name="Zástupný obsah 6">
            <a:extLst>
              <a:ext uri="{FF2B5EF4-FFF2-40B4-BE49-F238E27FC236}">
                <a16:creationId xmlns:a16="http://schemas.microsoft.com/office/drawing/2014/main" id="{26CA1059-BB2C-443F-8E5A-318BF23397EB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8184234" y="2564904"/>
            <a:ext cx="3163871" cy="3312368"/>
          </a:xfrm>
        </p:spPr>
        <p:txBody>
          <a:bodyPr/>
          <a:lstStyle/>
          <a:p>
            <a:pPr marL="354013" indent="-354013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cs-CZ" sz="2400" dirty="0"/>
              <a:t>Nespamovat</a:t>
            </a:r>
          </a:p>
          <a:p>
            <a:pPr marL="354013" indent="-354013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cs-CZ" sz="2400" dirty="0"/>
              <a:t>Každý schvalovatel v procesu jen jednou</a:t>
            </a:r>
          </a:p>
          <a:p>
            <a:pPr marL="354013" indent="-354013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cs-CZ" sz="2400" dirty="0"/>
              <a:t>Kdo podepisuje – neschvaluje</a:t>
            </a:r>
          </a:p>
          <a:p>
            <a:pPr marL="354013" indent="-354013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cs-CZ" sz="2400" dirty="0"/>
              <a:t>Pozor na duplicity</a:t>
            </a:r>
          </a:p>
          <a:p>
            <a:pPr marL="354013" indent="-354013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cs-CZ" sz="2400" dirty="0"/>
              <a:t>Čím složitější proces – tím větší chybovost</a:t>
            </a:r>
          </a:p>
        </p:txBody>
      </p:sp>
      <p:sp>
        <p:nvSpPr>
          <p:cNvPr id="8" name="Nadpis 7">
            <a:extLst>
              <a:ext uri="{FF2B5EF4-FFF2-40B4-BE49-F238E27FC236}">
                <a16:creationId xmlns:a16="http://schemas.microsoft.com/office/drawing/2014/main" id="{BB75BBAA-EDB1-4CB3-A906-FD28D7B2A0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8469" y="1559603"/>
            <a:ext cx="2797485" cy="492443"/>
          </a:xfrm>
        </p:spPr>
        <p:txBody>
          <a:bodyPr/>
          <a:lstStyle/>
          <a:p>
            <a:r>
              <a:rPr lang="cs-CZ" dirty="0"/>
              <a:t>Optimalizace</a:t>
            </a:r>
          </a:p>
        </p:txBody>
      </p:sp>
    </p:spTree>
    <p:extLst>
      <p:ext uri="{BB962C8B-B14F-4D97-AF65-F5344CB8AC3E}">
        <p14:creationId xmlns:p14="http://schemas.microsoft.com/office/powerpoint/2010/main" val="321964708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číslo snímku 1">
            <a:extLst>
              <a:ext uri="{FF2B5EF4-FFF2-40B4-BE49-F238E27FC236}">
                <a16:creationId xmlns:a16="http://schemas.microsoft.com/office/drawing/2014/main" id="{304E2C3A-D442-439F-95DE-B5833EF204F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6545F21-C657-4764-B5B2-92A02BE34E1E}" type="slidenum">
              <a:rPr lang="cs-CZ" smtClean="0"/>
              <a:pPr/>
              <a:t>6</a:t>
            </a:fld>
            <a:endParaRPr lang="cs-CZ"/>
          </a:p>
        </p:txBody>
      </p:sp>
      <p:sp>
        <p:nvSpPr>
          <p:cNvPr id="7" name="Zástupný text 6">
            <a:extLst>
              <a:ext uri="{FF2B5EF4-FFF2-40B4-BE49-F238E27FC236}">
                <a16:creationId xmlns:a16="http://schemas.microsoft.com/office/drawing/2014/main" id="{E3513366-B5AA-4C02-BE47-60E5C049941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39416" y="548680"/>
            <a:ext cx="10512797" cy="576000"/>
          </a:xfrm>
        </p:spPr>
        <p:txBody>
          <a:bodyPr/>
          <a:lstStyle/>
          <a:p>
            <a:r>
              <a:rPr lang="cs-CZ" dirty="0"/>
              <a:t>Rizika neprovedení optimalizace</a:t>
            </a:r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2AFB5DCD-4F01-443B-F5B7-A613C1E958BD}"/>
              </a:ext>
            </a:extLst>
          </p:cNvPr>
          <p:cNvSpPr txBox="1"/>
          <p:nvPr/>
        </p:nvSpPr>
        <p:spPr>
          <a:xfrm>
            <a:off x="911238" y="1412776"/>
            <a:ext cx="10369152" cy="4924423"/>
          </a:xfrm>
          <a:prstGeom prst="rect">
            <a:avLst/>
          </a:prstGeom>
          <a:ln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360000" tIns="45719" rIns="360000" bIns="45719" numCol="1" spcCol="38100" rtlCol="0" anchor="t">
            <a:spAutoFit/>
          </a:bodyPr>
          <a:lstStyle/>
          <a:p>
            <a:pPr marL="541338" indent="-541338" hangingPunct="0">
              <a:spcAft>
                <a:spcPts val="1200"/>
              </a:spcAft>
              <a:buFont typeface="Wingdings" panose="05000000000000000000" pitchFamily="2" charset="2"/>
              <a:buChar char="Ø"/>
            </a:pPr>
            <a:r>
              <a:rPr lang="cs-CZ" sz="2800" b="1" u="sng" dirty="0">
                <a:solidFill>
                  <a:srgbClr val="000000"/>
                </a:solidFill>
                <a:sym typeface="Calibri"/>
              </a:rPr>
              <a:t>Znemožnění</a:t>
            </a:r>
            <a:r>
              <a:rPr lang="cs-CZ" sz="2800" b="1" dirty="0">
                <a:solidFill>
                  <a:srgbClr val="000000"/>
                </a:solidFill>
                <a:sym typeface="Calibri"/>
              </a:rPr>
              <a:t> automatizace a robotizace a </a:t>
            </a:r>
            <a:r>
              <a:rPr lang="cs-CZ" sz="2800" b="1" u="sng" dirty="0">
                <a:solidFill>
                  <a:srgbClr val="000000"/>
                </a:solidFill>
                <a:sym typeface="Calibri"/>
              </a:rPr>
              <a:t>z</a:t>
            </a:r>
            <a:r>
              <a:rPr kumimoji="0" lang="cs-CZ" sz="2800" b="1" i="0" u="sng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akonzervování</a:t>
            </a:r>
            <a:r>
              <a:rPr kumimoji="0" lang="cs-CZ" sz="2800" b="1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Calibri"/>
              </a:rPr>
              <a:t> složitých analogových procesů</a:t>
            </a:r>
          </a:p>
          <a:p>
            <a:pPr marL="541338" indent="-541338" hangingPunct="0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cs-CZ" sz="2800" b="1" dirty="0">
                <a:solidFill>
                  <a:srgbClr val="000000"/>
                </a:solidFill>
                <a:sym typeface="Calibri"/>
              </a:rPr>
              <a:t>Vykonávání nepotřebných činností </a:t>
            </a:r>
          </a:p>
          <a:p>
            <a:pPr marL="998538" lvl="1" indent="-541338" hangingPunct="0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cs-CZ" sz="2400" dirty="0">
                <a:solidFill>
                  <a:srgbClr val="000000"/>
                </a:solidFill>
                <a:sym typeface="Calibri"/>
              </a:rPr>
              <a:t>Extrémní zajišťování minoritních rizik, např. takových, která nikdy nenastala (</a:t>
            </a:r>
            <a:r>
              <a:rPr lang="cs-CZ" sz="2400" dirty="0" err="1">
                <a:solidFill>
                  <a:srgbClr val="000000"/>
                </a:solidFill>
                <a:sym typeface="Calibri"/>
              </a:rPr>
              <a:t>Legal</a:t>
            </a:r>
            <a:r>
              <a:rPr lang="cs-CZ" sz="2400" dirty="0">
                <a:solidFill>
                  <a:srgbClr val="000000"/>
                </a:solidFill>
                <a:sym typeface="Calibri"/>
              </a:rPr>
              <a:t> ochrana / extrémní pečlivost)</a:t>
            </a:r>
          </a:p>
          <a:p>
            <a:pPr marL="998538" lvl="1" indent="-541338" hangingPunct="0"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cs-CZ" sz="2400" dirty="0">
                <a:solidFill>
                  <a:srgbClr val="000000"/>
                </a:solidFill>
                <a:sym typeface="Calibri"/>
              </a:rPr>
              <a:t>Alibismus manažerů a referentů – mnohonásobné schvalování každého kroku procesu stejnými lidmi</a:t>
            </a:r>
          </a:p>
          <a:p>
            <a:pPr marL="541338" indent="-541338" hangingPunct="0">
              <a:spcAft>
                <a:spcPts val="1200"/>
              </a:spcAft>
              <a:buFont typeface="Wingdings" panose="05000000000000000000" pitchFamily="2" charset="2"/>
              <a:buChar char="Ø"/>
            </a:pPr>
            <a:r>
              <a:rPr lang="cs-CZ" sz="2800" b="1" dirty="0">
                <a:solidFill>
                  <a:srgbClr val="000000"/>
                </a:solidFill>
                <a:sym typeface="Calibri"/>
              </a:rPr>
              <a:t>Vykonávání stejných činností různými referenty / odděleními / dodavateli</a:t>
            </a:r>
          </a:p>
          <a:p>
            <a:pPr marL="541338" indent="-541338" hangingPunct="0">
              <a:spcAft>
                <a:spcPts val="1200"/>
              </a:spcAft>
              <a:buFont typeface="Wingdings" panose="05000000000000000000" pitchFamily="2" charset="2"/>
              <a:buChar char="Ø"/>
            </a:pPr>
            <a:r>
              <a:rPr lang="cs-CZ" sz="2800" b="1" dirty="0">
                <a:solidFill>
                  <a:srgbClr val="000000"/>
                </a:solidFill>
                <a:sym typeface="Calibri"/>
              </a:rPr>
              <a:t>Složitá pravidla = nerozumím, neprovádím</a:t>
            </a:r>
          </a:p>
        </p:txBody>
      </p:sp>
    </p:spTree>
    <p:extLst>
      <p:ext uri="{BB962C8B-B14F-4D97-AF65-F5344CB8AC3E}">
        <p14:creationId xmlns:p14="http://schemas.microsoft.com/office/powerpoint/2010/main" val="110152740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text 1">
            <a:extLst>
              <a:ext uri="{FF2B5EF4-FFF2-40B4-BE49-F238E27FC236}">
                <a16:creationId xmlns:a16="http://schemas.microsoft.com/office/drawing/2014/main" id="{82F9C02E-6E50-426A-BD5A-84DF309B4E9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09956" y="629490"/>
            <a:ext cx="6842257" cy="1008112"/>
          </a:xfrm>
        </p:spPr>
        <p:txBody>
          <a:bodyPr/>
          <a:lstStyle/>
          <a:p>
            <a:pPr algn="ctr"/>
            <a:r>
              <a:rPr lang="cs-CZ" sz="2800" dirty="0"/>
              <a:t>První krok ke zvyšování efektivity procesů</a:t>
            </a:r>
          </a:p>
        </p:txBody>
      </p:sp>
      <p:sp>
        <p:nvSpPr>
          <p:cNvPr id="3" name="Zástupný symbol pro číslo snímku 2">
            <a:extLst>
              <a:ext uri="{FF2B5EF4-FFF2-40B4-BE49-F238E27FC236}">
                <a16:creationId xmlns:a16="http://schemas.microsoft.com/office/drawing/2014/main" id="{8C3D5206-C693-4510-A78E-91BBFDC9F6A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6545F21-C657-4764-B5B2-92A02BE34E1E}" type="slidenum">
              <a:rPr lang="cs-CZ" smtClean="0"/>
              <a:pPr/>
              <a:t>7</a:t>
            </a:fld>
            <a:endParaRPr lang="cs-CZ">
              <a:latin typeface="+mj-lt"/>
            </a:endParaRP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8FF13764-EB75-4EB0-B4EC-E454B1C7A20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514064" y="1628800"/>
            <a:ext cx="3163871" cy="360000"/>
          </a:xfrm>
          <a:solidFill>
            <a:srgbClr val="64B42D"/>
          </a:solidFill>
          <a:ln>
            <a:solidFill>
              <a:schemeClr val="accent1"/>
            </a:solidFill>
          </a:ln>
        </p:spPr>
        <p:txBody>
          <a:bodyPr/>
          <a:lstStyle/>
          <a:p>
            <a:r>
              <a:rPr lang="cs-CZ" dirty="0"/>
              <a:t> </a:t>
            </a:r>
          </a:p>
        </p:txBody>
      </p:sp>
      <p:sp>
        <p:nvSpPr>
          <p:cNvPr id="5" name="Zástupný obsah 4">
            <a:extLst>
              <a:ext uri="{FF2B5EF4-FFF2-40B4-BE49-F238E27FC236}">
                <a16:creationId xmlns:a16="http://schemas.microsoft.com/office/drawing/2014/main" id="{87E35A90-CA44-4E75-AEE4-A4F0AE97B002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509956" y="2348840"/>
            <a:ext cx="3163871" cy="3663606"/>
          </a:xfrm>
        </p:spPr>
        <p:txBody>
          <a:bodyPr/>
          <a:lstStyle/>
          <a:p>
            <a:pPr marL="354013" indent="-354013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cs-CZ" sz="2400" dirty="0"/>
              <a:t>Sdílení informací</a:t>
            </a:r>
          </a:p>
          <a:p>
            <a:pPr marL="354013" indent="-354013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cs-CZ" sz="2400" dirty="0"/>
              <a:t>Otevírá prostor pro automatizaci a robotizaci</a:t>
            </a:r>
          </a:p>
          <a:p>
            <a:pPr marL="354013" indent="-354013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cs-CZ" sz="2400" dirty="0"/>
              <a:t>Výrazné zefektivnění a tím i urychlení procesů</a:t>
            </a:r>
          </a:p>
          <a:p>
            <a:pPr marL="354013" indent="-354013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cs-CZ" sz="2400" dirty="0"/>
              <a:t>Úspory interních nákladů</a:t>
            </a:r>
          </a:p>
        </p:txBody>
      </p:sp>
      <p:sp>
        <p:nvSpPr>
          <p:cNvPr id="6" name="Zástupný text 5">
            <a:extLst>
              <a:ext uri="{FF2B5EF4-FFF2-40B4-BE49-F238E27FC236}">
                <a16:creationId xmlns:a16="http://schemas.microsoft.com/office/drawing/2014/main" id="{7E8FCC90-745A-442F-9BBC-6DE6321C538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188342" y="1628800"/>
            <a:ext cx="3163871" cy="360000"/>
          </a:xfrm>
          <a:solidFill>
            <a:srgbClr val="FF0000"/>
          </a:solidFill>
          <a:ln>
            <a:solidFill>
              <a:srgbClr val="FF0000"/>
            </a:solidFill>
          </a:ln>
        </p:spPr>
        <p:txBody>
          <a:bodyPr/>
          <a:lstStyle/>
          <a:p>
            <a:r>
              <a:rPr lang="cs-CZ" dirty="0"/>
              <a:t> </a:t>
            </a:r>
          </a:p>
        </p:txBody>
      </p:sp>
      <p:sp>
        <p:nvSpPr>
          <p:cNvPr id="7" name="Zástupný obsah 6">
            <a:extLst>
              <a:ext uri="{FF2B5EF4-FFF2-40B4-BE49-F238E27FC236}">
                <a16:creationId xmlns:a16="http://schemas.microsoft.com/office/drawing/2014/main" id="{26CA1059-BB2C-443F-8E5A-318BF23397EB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8184234" y="2348840"/>
            <a:ext cx="3163871" cy="3312368"/>
          </a:xfrm>
        </p:spPr>
        <p:txBody>
          <a:bodyPr/>
          <a:lstStyle/>
          <a:p>
            <a:pPr marL="354013" indent="-354013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cs-CZ" sz="2400" dirty="0"/>
              <a:t>Digitalizace není „.</a:t>
            </a:r>
            <a:r>
              <a:rPr lang="cs-CZ" sz="2400" dirty="0" err="1"/>
              <a:t>pdf</a:t>
            </a:r>
            <a:r>
              <a:rPr lang="cs-CZ" sz="2400" dirty="0"/>
              <a:t>“ ani „.</a:t>
            </a:r>
            <a:r>
              <a:rPr lang="cs-CZ" sz="2400" dirty="0" err="1"/>
              <a:t>jpg</a:t>
            </a:r>
            <a:r>
              <a:rPr lang="cs-CZ" sz="2400" dirty="0"/>
              <a:t>“</a:t>
            </a:r>
          </a:p>
          <a:p>
            <a:pPr marL="354013" indent="-354013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cs-CZ" sz="2400" dirty="0"/>
              <a:t>Bez strukturovaných informací to nejde</a:t>
            </a:r>
          </a:p>
          <a:p>
            <a:pPr marL="354013" indent="-354013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cs-CZ" sz="2400" dirty="0"/>
              <a:t>Ad hoc procesy „co nákupčí – to proces“ zničí jakoukoliv snahu o efektivitu</a:t>
            </a:r>
          </a:p>
          <a:p>
            <a:pPr marL="354013" indent="-354013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cs-CZ" sz="2400" dirty="0"/>
              <a:t>Dílčí proces bez E2E pohledu nic neřeší</a:t>
            </a:r>
          </a:p>
        </p:txBody>
      </p:sp>
      <p:sp>
        <p:nvSpPr>
          <p:cNvPr id="8" name="Nadpis 7">
            <a:extLst>
              <a:ext uri="{FF2B5EF4-FFF2-40B4-BE49-F238E27FC236}">
                <a16:creationId xmlns:a16="http://schemas.microsoft.com/office/drawing/2014/main" id="{BB75BBAA-EDB1-4CB3-A906-FD28D7B2A0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8469" y="1559603"/>
            <a:ext cx="2797485" cy="492443"/>
          </a:xfrm>
        </p:spPr>
        <p:txBody>
          <a:bodyPr/>
          <a:lstStyle/>
          <a:p>
            <a:r>
              <a:rPr lang="cs-CZ" dirty="0"/>
              <a:t>Digitalizace</a:t>
            </a:r>
          </a:p>
        </p:txBody>
      </p:sp>
    </p:spTree>
    <p:extLst>
      <p:ext uri="{BB962C8B-B14F-4D97-AF65-F5344CB8AC3E}">
        <p14:creationId xmlns:p14="http://schemas.microsoft.com/office/powerpoint/2010/main" val="198550369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text 1">
            <a:extLst>
              <a:ext uri="{FF2B5EF4-FFF2-40B4-BE49-F238E27FC236}">
                <a16:creationId xmlns:a16="http://schemas.microsoft.com/office/drawing/2014/main" id="{82F9C02E-6E50-426A-BD5A-84DF309B4E9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09956" y="629490"/>
            <a:ext cx="6842257" cy="495254"/>
          </a:xfrm>
        </p:spPr>
        <p:txBody>
          <a:bodyPr/>
          <a:lstStyle/>
          <a:p>
            <a:pPr algn="ctr"/>
            <a:r>
              <a:rPr lang="cs-CZ" sz="2800" dirty="0"/>
              <a:t>Vysoká škola efektivity práce</a:t>
            </a:r>
          </a:p>
        </p:txBody>
      </p:sp>
      <p:sp>
        <p:nvSpPr>
          <p:cNvPr id="3" name="Zástupný symbol pro číslo snímku 2">
            <a:extLst>
              <a:ext uri="{FF2B5EF4-FFF2-40B4-BE49-F238E27FC236}">
                <a16:creationId xmlns:a16="http://schemas.microsoft.com/office/drawing/2014/main" id="{8C3D5206-C693-4510-A78E-91BBFDC9F6A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6545F21-C657-4764-B5B2-92A02BE34E1E}" type="slidenum">
              <a:rPr lang="cs-CZ" smtClean="0"/>
              <a:pPr/>
              <a:t>8</a:t>
            </a:fld>
            <a:endParaRPr lang="cs-CZ">
              <a:latin typeface="+mj-lt"/>
            </a:endParaRP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8FF13764-EB75-4EB0-B4EC-E454B1C7A20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328623" y="1595494"/>
            <a:ext cx="3163871" cy="360000"/>
          </a:xfrm>
          <a:solidFill>
            <a:srgbClr val="64B42D"/>
          </a:solidFill>
          <a:ln>
            <a:solidFill>
              <a:schemeClr val="accent1"/>
            </a:solidFill>
          </a:ln>
        </p:spPr>
        <p:txBody>
          <a:bodyPr/>
          <a:lstStyle/>
          <a:p>
            <a:r>
              <a:rPr lang="cs-CZ"/>
              <a:t> </a:t>
            </a:r>
            <a:endParaRPr lang="cs-CZ" dirty="0"/>
          </a:p>
        </p:txBody>
      </p:sp>
      <p:sp>
        <p:nvSpPr>
          <p:cNvPr id="5" name="Zástupný obsah 4">
            <a:extLst>
              <a:ext uri="{FF2B5EF4-FFF2-40B4-BE49-F238E27FC236}">
                <a16:creationId xmlns:a16="http://schemas.microsoft.com/office/drawing/2014/main" id="{87E35A90-CA44-4E75-AEE4-A4F0AE97B002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367809" y="2501698"/>
            <a:ext cx="3163871" cy="3312368"/>
          </a:xfrm>
        </p:spPr>
        <p:txBody>
          <a:bodyPr/>
          <a:lstStyle/>
          <a:p>
            <a:pPr marL="354013" indent="-354013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cs-CZ" sz="2400" dirty="0"/>
              <a:t>Nákladné</a:t>
            </a:r>
          </a:p>
          <a:p>
            <a:pPr marL="354013" indent="-354013">
              <a:spcAft>
                <a:spcPts val="600"/>
              </a:spcAft>
              <a:buFont typeface="Wingdings" panose="05000000000000000000" pitchFamily="2" charset="2"/>
              <a:buChar char="Ø"/>
            </a:pPr>
            <a:endParaRPr lang="cs-CZ" sz="2400" dirty="0"/>
          </a:p>
          <a:p>
            <a:pPr marL="354013" indent="-354013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cs-CZ" sz="2400" dirty="0"/>
              <a:t>Časově náročné         (i roky)</a:t>
            </a:r>
          </a:p>
          <a:p>
            <a:pPr marL="354013" indent="-354013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cs-CZ" sz="2400" dirty="0"/>
              <a:t>Neefektivní – pokud jsou časté, tj. dočasné</a:t>
            </a:r>
          </a:p>
          <a:p>
            <a:pPr marL="354013" indent="-354013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cs-CZ" sz="2400" dirty="0"/>
              <a:t>Práce člověka je levnější než změna</a:t>
            </a:r>
          </a:p>
        </p:txBody>
      </p:sp>
      <p:sp>
        <p:nvSpPr>
          <p:cNvPr id="6" name="Zástupný text 5">
            <a:extLst>
              <a:ext uri="{FF2B5EF4-FFF2-40B4-BE49-F238E27FC236}">
                <a16:creationId xmlns:a16="http://schemas.microsoft.com/office/drawing/2014/main" id="{7E8FCC90-745A-442F-9BBC-6DE6321C538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67808" y="1595494"/>
            <a:ext cx="3163871" cy="360000"/>
          </a:xfrm>
          <a:solidFill>
            <a:srgbClr val="FF0000"/>
          </a:solidFill>
          <a:ln>
            <a:solidFill>
              <a:srgbClr val="FF0000"/>
            </a:solidFill>
          </a:ln>
        </p:spPr>
        <p:txBody>
          <a:bodyPr/>
          <a:lstStyle/>
          <a:p>
            <a:r>
              <a:rPr lang="cs-CZ" dirty="0"/>
              <a:t> </a:t>
            </a:r>
          </a:p>
        </p:txBody>
      </p:sp>
      <p:sp>
        <p:nvSpPr>
          <p:cNvPr id="7" name="Zástupný obsah 6">
            <a:extLst>
              <a:ext uri="{FF2B5EF4-FFF2-40B4-BE49-F238E27FC236}">
                <a16:creationId xmlns:a16="http://schemas.microsoft.com/office/drawing/2014/main" id="{26CA1059-BB2C-443F-8E5A-318BF23397EB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8328623" y="2501698"/>
            <a:ext cx="3163871" cy="3312368"/>
          </a:xfrm>
        </p:spPr>
        <p:txBody>
          <a:bodyPr/>
          <a:lstStyle/>
          <a:p>
            <a:pPr marL="354013" indent="-354013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cs-CZ" sz="2400" dirty="0"/>
              <a:t>Rychlou návratnost (ROI)</a:t>
            </a:r>
          </a:p>
          <a:p>
            <a:pPr marL="354013" indent="-354013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cs-CZ" sz="2400" dirty="0"/>
              <a:t>Hodiny, maximálně dny</a:t>
            </a:r>
          </a:p>
          <a:p>
            <a:pPr marL="354013" indent="-354013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cs-CZ" sz="2400" dirty="0"/>
              <a:t>Rychlou náhradu jiným procesem</a:t>
            </a:r>
          </a:p>
          <a:p>
            <a:pPr marL="354013" indent="-354013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cs-CZ" sz="2400" dirty="0"/>
              <a:t>Zaměření práce lidí na kreativní činnost</a:t>
            </a:r>
          </a:p>
        </p:txBody>
      </p:sp>
      <p:sp>
        <p:nvSpPr>
          <p:cNvPr id="8" name="Nadpis 7">
            <a:extLst>
              <a:ext uri="{FF2B5EF4-FFF2-40B4-BE49-F238E27FC236}">
                <a16:creationId xmlns:a16="http://schemas.microsoft.com/office/drawing/2014/main" id="{BB75BBAA-EDB1-4CB3-A906-FD28D7B2A0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8469" y="1559603"/>
            <a:ext cx="2797485" cy="3447098"/>
          </a:xfrm>
        </p:spPr>
        <p:txBody>
          <a:bodyPr/>
          <a:lstStyle/>
          <a:p>
            <a:pPr algn="ctr"/>
            <a:r>
              <a:rPr lang="cs-CZ" dirty="0"/>
              <a:t>Automatizace / robotizace</a:t>
            </a:r>
            <a:br>
              <a:rPr lang="cs-CZ" dirty="0"/>
            </a:br>
            <a:br>
              <a:rPr lang="cs-CZ" dirty="0"/>
            </a:br>
            <a:r>
              <a:rPr lang="cs-CZ" dirty="0"/>
              <a:t> (automatizace pomocí speciálních aplikací)</a:t>
            </a:r>
          </a:p>
        </p:txBody>
      </p:sp>
      <p:sp>
        <p:nvSpPr>
          <p:cNvPr id="9" name="Zástupný text 5">
            <a:extLst>
              <a:ext uri="{FF2B5EF4-FFF2-40B4-BE49-F238E27FC236}">
                <a16:creationId xmlns:a16="http://schemas.microsoft.com/office/drawing/2014/main" id="{63EA6D3F-CC1F-8B14-FED7-8E51D72634F7}"/>
              </a:ext>
            </a:extLst>
          </p:cNvPr>
          <p:cNvSpPr txBox="1">
            <a:spLocks/>
          </p:cNvSpPr>
          <p:nvPr/>
        </p:nvSpPr>
        <p:spPr>
          <a:xfrm>
            <a:off x="4373785" y="1595494"/>
            <a:ext cx="3163871" cy="393346"/>
          </a:xfrm>
          <a:prstGeom prst="rect">
            <a:avLst/>
          </a:prstGeom>
          <a:solidFill>
            <a:srgbClr val="FF0000"/>
          </a:solidFill>
          <a:ln w="28575">
            <a:solidFill>
              <a:srgbClr val="FFC000"/>
            </a:solidFill>
          </a:ln>
        </p:spPr>
        <p:txBody>
          <a:bodyPr lIns="0" tIns="0" rIns="0" bIns="0" numCol="1" anchor="ctr"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400"/>
              </a:spcAft>
              <a:buFont typeface="Arial" pitchFamily="34" charset="0"/>
              <a:buNone/>
              <a:defRPr sz="1400" b="1" u="sng" kern="1200" baseline="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324000" indent="-324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24000" indent="-324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76000" indent="-288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6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576000" indent="-288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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cs-CZ" sz="2000" u="none" dirty="0">
                <a:solidFill>
                  <a:schemeClr val="bg1"/>
                </a:solidFill>
              </a:rPr>
              <a:t>Programové úpravy jsou</a:t>
            </a:r>
          </a:p>
        </p:txBody>
      </p:sp>
      <p:sp>
        <p:nvSpPr>
          <p:cNvPr id="10" name="Zástupný text 9">
            <a:extLst>
              <a:ext uri="{FF2B5EF4-FFF2-40B4-BE49-F238E27FC236}">
                <a16:creationId xmlns:a16="http://schemas.microsoft.com/office/drawing/2014/main" id="{342F3EF1-0D17-AFB1-09C0-F0ACD7DE63F8}"/>
              </a:ext>
            </a:extLst>
          </p:cNvPr>
          <p:cNvSpPr txBox="1">
            <a:spLocks/>
          </p:cNvSpPr>
          <p:nvPr/>
        </p:nvSpPr>
        <p:spPr>
          <a:xfrm>
            <a:off x="8332729" y="1595494"/>
            <a:ext cx="3163871" cy="393306"/>
          </a:xfrm>
          <a:prstGeom prst="rect">
            <a:avLst/>
          </a:prstGeom>
          <a:solidFill>
            <a:srgbClr val="64B42D"/>
          </a:solidFill>
          <a:ln w="28575">
            <a:solidFill>
              <a:schemeClr val="accent1">
                <a:lumMod val="60000"/>
                <a:lumOff val="40000"/>
              </a:schemeClr>
            </a:solidFill>
          </a:ln>
        </p:spPr>
        <p:txBody>
          <a:bodyPr lIns="0" tIns="0" rIns="0" bIns="0" numCol="1" anchor="ctr"/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400"/>
              </a:spcAft>
              <a:buFont typeface="Arial" pitchFamily="34" charset="0"/>
              <a:buNone/>
              <a:defRPr sz="1400" b="1" u="sng" kern="1200" baseline="0">
                <a:solidFill>
                  <a:schemeClr val="tx2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324000" indent="-324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24000" indent="-324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76000" indent="-288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Font typeface="Wingdings" panose="05000000000000000000" pitchFamily="2" charset="2"/>
              <a:buChar char="l"/>
              <a:defRPr sz="16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576000" indent="-288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Font typeface="Symbol" panose="05050102010706020507" pitchFamily="18" charset="2"/>
              <a:buChar char="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cs-CZ" sz="2000" u="none">
                <a:solidFill>
                  <a:schemeClr val="bg1"/>
                </a:solidFill>
              </a:rPr>
              <a:t>Robotizace přináší</a:t>
            </a:r>
            <a:endParaRPr lang="cs-CZ" sz="2000" u="none" dirty="0">
              <a:solidFill>
                <a:schemeClr val="bg1"/>
              </a:solidFill>
            </a:endParaRPr>
          </a:p>
        </p:txBody>
      </p:sp>
      <p:sp>
        <p:nvSpPr>
          <p:cNvPr id="11" name="Šipka: doprava se zářezem 10">
            <a:extLst>
              <a:ext uri="{FF2B5EF4-FFF2-40B4-BE49-F238E27FC236}">
                <a16:creationId xmlns:a16="http://schemas.microsoft.com/office/drawing/2014/main" id="{9FDDDE50-9BD9-5DCD-D34B-5D6CD3951947}"/>
              </a:ext>
            </a:extLst>
          </p:cNvPr>
          <p:cNvSpPr/>
          <p:nvPr/>
        </p:nvSpPr>
        <p:spPr bwMode="gray">
          <a:xfrm>
            <a:off x="7379349" y="2712326"/>
            <a:ext cx="720080" cy="495254"/>
          </a:xfrm>
          <a:prstGeom prst="notchedRightArrow">
            <a:avLst/>
          </a:prstGeom>
          <a:solidFill>
            <a:srgbClr val="FF0000"/>
          </a:solidFill>
          <a:ln cap="sq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72000" rIns="144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ctr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cs-CZ" sz="1400" dirty="0">
              <a:solidFill>
                <a:schemeClr val="bg1"/>
              </a:solidFill>
            </a:endParaRPr>
          </a:p>
        </p:txBody>
      </p:sp>
      <p:sp>
        <p:nvSpPr>
          <p:cNvPr id="12" name="Šipka: doprava se zářezem 11">
            <a:extLst>
              <a:ext uri="{FF2B5EF4-FFF2-40B4-BE49-F238E27FC236}">
                <a16:creationId xmlns:a16="http://schemas.microsoft.com/office/drawing/2014/main" id="{618A7272-8541-7235-6B9D-1D498D2ADE96}"/>
              </a:ext>
            </a:extLst>
          </p:cNvPr>
          <p:cNvSpPr/>
          <p:nvPr/>
        </p:nvSpPr>
        <p:spPr bwMode="gray">
          <a:xfrm>
            <a:off x="7379349" y="3464009"/>
            <a:ext cx="720080" cy="495254"/>
          </a:xfrm>
          <a:prstGeom prst="notchedRightArrow">
            <a:avLst/>
          </a:prstGeom>
          <a:solidFill>
            <a:srgbClr val="FF0000"/>
          </a:solidFill>
          <a:ln cap="sq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72000" rIns="144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ctr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cs-CZ" sz="1400" dirty="0">
              <a:solidFill>
                <a:schemeClr val="bg1"/>
              </a:solidFill>
            </a:endParaRPr>
          </a:p>
        </p:txBody>
      </p:sp>
      <p:sp>
        <p:nvSpPr>
          <p:cNvPr id="13" name="Šipka: doprava se zářezem 12">
            <a:extLst>
              <a:ext uri="{FF2B5EF4-FFF2-40B4-BE49-F238E27FC236}">
                <a16:creationId xmlns:a16="http://schemas.microsoft.com/office/drawing/2014/main" id="{5B8F6D57-2118-78FF-A12E-59A542AED4A0}"/>
              </a:ext>
            </a:extLst>
          </p:cNvPr>
          <p:cNvSpPr/>
          <p:nvPr/>
        </p:nvSpPr>
        <p:spPr bwMode="gray">
          <a:xfrm>
            <a:off x="7379349" y="4215692"/>
            <a:ext cx="720080" cy="495254"/>
          </a:xfrm>
          <a:prstGeom prst="notchedRightArrow">
            <a:avLst/>
          </a:prstGeom>
          <a:solidFill>
            <a:srgbClr val="FF0000"/>
          </a:solidFill>
          <a:ln cap="sq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72000" rIns="144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ctr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cs-CZ" sz="1400" dirty="0">
              <a:solidFill>
                <a:schemeClr val="bg1"/>
              </a:solidFill>
            </a:endParaRPr>
          </a:p>
        </p:txBody>
      </p:sp>
      <p:sp>
        <p:nvSpPr>
          <p:cNvPr id="14" name="Šipka: doprava se zářezem 13">
            <a:extLst>
              <a:ext uri="{FF2B5EF4-FFF2-40B4-BE49-F238E27FC236}">
                <a16:creationId xmlns:a16="http://schemas.microsoft.com/office/drawing/2014/main" id="{EACE4F58-FBD7-B045-7B7F-210F093BF78A}"/>
              </a:ext>
            </a:extLst>
          </p:cNvPr>
          <p:cNvSpPr/>
          <p:nvPr/>
        </p:nvSpPr>
        <p:spPr bwMode="gray">
          <a:xfrm>
            <a:off x="7379349" y="4967375"/>
            <a:ext cx="720080" cy="495254"/>
          </a:xfrm>
          <a:prstGeom prst="notchedRightArrow">
            <a:avLst/>
          </a:prstGeom>
          <a:solidFill>
            <a:srgbClr val="FF0000"/>
          </a:solidFill>
          <a:ln cap="sq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72000" rIns="144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ctr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cs-CZ" sz="1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422345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Zástupný text 23">
            <a:extLst>
              <a:ext uri="{FF2B5EF4-FFF2-40B4-BE49-F238E27FC236}">
                <a16:creationId xmlns:a16="http://schemas.microsoft.com/office/drawing/2014/main" id="{AAE6D640-9050-4BD2-B831-450BE034840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cs-CZ" dirty="0"/>
              <a:t>Dostupné nástroje</a:t>
            </a:r>
          </a:p>
        </p:txBody>
      </p:sp>
      <p:sp>
        <p:nvSpPr>
          <p:cNvPr id="23" name="Zástupný text 22">
            <a:extLst>
              <a:ext uri="{FF2B5EF4-FFF2-40B4-BE49-F238E27FC236}">
                <a16:creationId xmlns:a16="http://schemas.microsoft.com/office/drawing/2014/main" id="{DB8FC894-D91C-4AFA-8EE2-3B2B467BB17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algn="ctr"/>
            <a:r>
              <a:rPr lang="cs-CZ" sz="1800" dirty="0"/>
              <a:t>VBA - Makra</a:t>
            </a:r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E717DF8B-C792-4D0A-B017-DEE9CAE5BB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6545F21-C657-4764-B5B2-92A02BE34E1E}" type="slidenum">
              <a:rPr lang="cs-CZ" smtClean="0"/>
              <a:pPr/>
              <a:t>9</a:t>
            </a:fld>
            <a:endParaRPr lang="cs-CZ"/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8BCD210C-BB23-4871-88A6-78F3BAEAFAC1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839789" y="2596388"/>
            <a:ext cx="3163871" cy="3280884"/>
          </a:xfrm>
        </p:spPr>
        <p:txBody>
          <a:bodyPr/>
          <a:lstStyle/>
          <a:p>
            <a:pPr lvl="1"/>
            <a:r>
              <a:rPr lang="cs-CZ" sz="2000" dirty="0"/>
              <a:t>Součást Excelu</a:t>
            </a:r>
          </a:p>
          <a:p>
            <a:pPr lvl="1"/>
            <a:r>
              <a:rPr lang="cs-CZ" sz="2000" dirty="0"/>
              <a:t>Psaní kódu</a:t>
            </a:r>
          </a:p>
        </p:txBody>
      </p:sp>
      <p:sp>
        <p:nvSpPr>
          <p:cNvPr id="25" name="Zástupný text 24">
            <a:extLst>
              <a:ext uri="{FF2B5EF4-FFF2-40B4-BE49-F238E27FC236}">
                <a16:creationId xmlns:a16="http://schemas.microsoft.com/office/drawing/2014/main" id="{D49E1141-BF7C-45E7-963D-E8BCC04F40F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pPr algn="ctr"/>
            <a:r>
              <a:rPr lang="cs-CZ" sz="1800" dirty="0"/>
              <a:t>Power automate Desktop </a:t>
            </a:r>
            <a:r>
              <a:rPr lang="en-US" sz="1800" dirty="0"/>
              <a:t>&amp; Cloud</a:t>
            </a:r>
            <a:endParaRPr lang="cs-CZ" sz="1800" dirty="0"/>
          </a:p>
        </p:txBody>
      </p:sp>
      <p:sp>
        <p:nvSpPr>
          <p:cNvPr id="8" name="Zástupný obsah 7">
            <a:extLst>
              <a:ext uri="{FF2B5EF4-FFF2-40B4-BE49-F238E27FC236}">
                <a16:creationId xmlns:a16="http://schemas.microsoft.com/office/drawing/2014/main" id="{85EA2069-79A8-4041-A3C7-07DB57704885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396173" y="2596388"/>
            <a:ext cx="3163871" cy="3280884"/>
          </a:xfrm>
        </p:spPr>
        <p:txBody>
          <a:bodyPr/>
          <a:lstStyle/>
          <a:p>
            <a:pPr lvl="1"/>
            <a:r>
              <a:rPr lang="en-US" sz="2000" dirty="0"/>
              <a:t>Desktop </a:t>
            </a:r>
            <a:r>
              <a:rPr lang="cs-CZ" sz="2000" dirty="0"/>
              <a:t>– ovládání ostatních aplikací a webových stránek</a:t>
            </a:r>
          </a:p>
          <a:p>
            <a:pPr lvl="1"/>
            <a:r>
              <a:rPr lang="cs-CZ" sz="2000" dirty="0"/>
              <a:t>Cloud – automatizace MS 365</a:t>
            </a:r>
          </a:p>
          <a:p>
            <a:pPr lvl="1"/>
            <a:endParaRPr lang="cs-CZ" sz="2000" dirty="0"/>
          </a:p>
          <a:p>
            <a:pPr lvl="1"/>
            <a:endParaRPr lang="cs-CZ" sz="2000" dirty="0"/>
          </a:p>
          <a:p>
            <a:pPr lvl="2"/>
            <a:r>
              <a:rPr lang="cs-CZ" sz="2000" dirty="0"/>
              <a:t>Všichni mají k dispozici v rámci Windows/Office licencí</a:t>
            </a:r>
          </a:p>
          <a:p>
            <a:pPr lvl="2"/>
            <a:r>
              <a:rPr lang="cs-CZ" sz="2000" dirty="0"/>
              <a:t>Nemusí se psát kó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cs-CZ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cs-CZ" sz="2000" dirty="0"/>
          </a:p>
        </p:txBody>
      </p:sp>
      <p:sp>
        <p:nvSpPr>
          <p:cNvPr id="26" name="Zástupný text 25">
            <a:extLst>
              <a:ext uri="{FF2B5EF4-FFF2-40B4-BE49-F238E27FC236}">
                <a16:creationId xmlns:a16="http://schemas.microsoft.com/office/drawing/2014/main" id="{B080B212-F913-400A-BB36-C34737AF503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pPr algn="ctr"/>
            <a:r>
              <a:rPr lang="en-US" sz="1800" dirty="0" err="1"/>
              <a:t>Speciali</a:t>
            </a:r>
            <a:r>
              <a:rPr lang="cs-CZ" sz="1800" dirty="0" err="1"/>
              <a:t>zované</a:t>
            </a:r>
            <a:r>
              <a:rPr lang="cs-CZ" sz="1800" dirty="0"/>
              <a:t> </a:t>
            </a:r>
            <a:r>
              <a:rPr lang="cs-CZ" sz="1800" dirty="0" err="1"/>
              <a:t>low</a:t>
            </a:r>
            <a:r>
              <a:rPr lang="cs-CZ" sz="1800" dirty="0"/>
              <a:t> </a:t>
            </a:r>
            <a:r>
              <a:rPr lang="cs-CZ" sz="1800" dirty="0" err="1"/>
              <a:t>code</a:t>
            </a:r>
            <a:r>
              <a:rPr lang="cs-CZ" sz="1800" dirty="0"/>
              <a:t>/no </a:t>
            </a:r>
            <a:r>
              <a:rPr lang="cs-CZ" sz="1800" dirty="0" err="1"/>
              <a:t>code</a:t>
            </a:r>
            <a:r>
              <a:rPr lang="cs-CZ" sz="1800" dirty="0"/>
              <a:t> nástroje</a:t>
            </a:r>
          </a:p>
        </p:txBody>
      </p:sp>
      <p:sp>
        <p:nvSpPr>
          <p:cNvPr id="10" name="Zástupný obsah 9">
            <a:extLst>
              <a:ext uri="{FF2B5EF4-FFF2-40B4-BE49-F238E27FC236}">
                <a16:creationId xmlns:a16="http://schemas.microsoft.com/office/drawing/2014/main" id="{C0AD31AD-B26B-4EA8-9B2A-737F5E815494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8184234" y="2596388"/>
            <a:ext cx="3163871" cy="3280884"/>
          </a:xfrm>
        </p:spPr>
        <p:txBody>
          <a:bodyPr/>
          <a:lstStyle/>
          <a:p>
            <a:pPr lvl="1"/>
            <a:r>
              <a:rPr lang="cs-CZ" sz="2000" dirty="0"/>
              <a:t>Blue </a:t>
            </a:r>
            <a:r>
              <a:rPr lang="cs-CZ" sz="2000" dirty="0" err="1"/>
              <a:t>Prism</a:t>
            </a:r>
            <a:endParaRPr lang="cs-CZ" sz="2000" dirty="0"/>
          </a:p>
          <a:p>
            <a:pPr lvl="1"/>
            <a:r>
              <a:rPr lang="cs-CZ" sz="2000" dirty="0" err="1"/>
              <a:t>UiPath</a:t>
            </a:r>
            <a:endParaRPr lang="cs-CZ" sz="2000" dirty="0"/>
          </a:p>
          <a:p>
            <a:pPr lvl="1"/>
            <a:r>
              <a:rPr lang="cs-CZ" sz="2000" dirty="0"/>
              <a:t>SAP BUILD</a:t>
            </a:r>
          </a:p>
          <a:p>
            <a:pPr lvl="1"/>
            <a:endParaRPr lang="cs-CZ" sz="2000" dirty="0"/>
          </a:p>
          <a:p>
            <a:pPr lvl="1"/>
            <a:r>
              <a:rPr lang="cs-CZ" sz="2000" dirty="0"/>
              <a:t>Nemusí se psát kód (většinou)</a:t>
            </a:r>
          </a:p>
          <a:p>
            <a:pPr lvl="1"/>
            <a:r>
              <a:rPr lang="cs-CZ" sz="2000" dirty="0"/>
              <a:t>Náročnější na správu</a:t>
            </a:r>
          </a:p>
          <a:p>
            <a:pPr lvl="1"/>
            <a:endParaRPr lang="cs-CZ" sz="2000" dirty="0"/>
          </a:p>
        </p:txBody>
      </p:sp>
      <p:pic>
        <p:nvPicPr>
          <p:cNvPr id="3" name="Obrázek 2">
            <a:extLst>
              <a:ext uri="{FF2B5EF4-FFF2-40B4-BE49-F238E27FC236}">
                <a16:creationId xmlns:a16="http://schemas.microsoft.com/office/drawing/2014/main" id="{7CB00E72-CC1F-3A7C-4853-DA54635DF9C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9416" y="3606771"/>
            <a:ext cx="2949196" cy="1044030"/>
          </a:xfrm>
          <a:prstGeom prst="rect">
            <a:avLst/>
          </a:prstGeom>
        </p:spPr>
      </p:pic>
      <p:pic>
        <p:nvPicPr>
          <p:cNvPr id="7170" name="Picture 2" descr="February 2023 update of Power Automate for desktop | Power Automate Blog">
            <a:extLst>
              <a:ext uri="{FF2B5EF4-FFF2-40B4-BE49-F238E27FC236}">
                <a16:creationId xmlns:a16="http://schemas.microsoft.com/office/drawing/2014/main" id="{686E5C44-DEE0-5ADD-2426-574209C8630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31904" y="3861048"/>
            <a:ext cx="2085300" cy="10964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1347757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asNet 16ku9 - základní">
  <a:themeElements>
    <a:clrScheme name="GasNet">
      <a:dk1>
        <a:sysClr val="windowText" lastClr="000000"/>
      </a:dk1>
      <a:lt1>
        <a:sysClr val="window" lastClr="FFFFFF"/>
      </a:lt1>
      <a:dk2>
        <a:srgbClr val="40C400"/>
      </a:dk2>
      <a:lt2>
        <a:srgbClr val="E6E6E6"/>
      </a:lt2>
      <a:accent1>
        <a:srgbClr val="40C400"/>
      </a:accent1>
      <a:accent2>
        <a:srgbClr val="236018"/>
      </a:accent2>
      <a:accent3>
        <a:srgbClr val="D9D9D9"/>
      </a:accent3>
      <a:accent4>
        <a:srgbClr val="F8F8F8"/>
      </a:accent4>
      <a:accent5>
        <a:srgbClr val="878787"/>
      </a:accent5>
      <a:accent6>
        <a:srgbClr val="5A5A5A"/>
      </a:accent6>
      <a:hlink>
        <a:srgbClr val="000000"/>
      </a:hlink>
      <a:folHlink>
        <a:srgbClr val="000000"/>
      </a:folHlink>
    </a:clrScheme>
    <a:fontScheme name="GasNet NEW">
      <a:majorFont>
        <a:latin typeface="Segoe UI Semibold"/>
        <a:ea typeface=""/>
        <a:cs typeface=""/>
      </a:majorFont>
      <a:minorFont>
        <a:latin typeface="Segoe UI Light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64B42D"/>
        </a:solidFill>
        <a:ln cap="sq">
          <a:noFill/>
          <a:miter lim="800000"/>
        </a:ln>
      </a:spPr>
      <a:bodyPr rot="0" spcFirstLastPara="0" vertOverflow="overflow" horzOverflow="overflow" vert="horz" wrap="square" lIns="144000" tIns="72000" rIns="144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marL="180000" indent="-180000" algn="ctr">
          <a:spcBef>
            <a:spcPts val="600"/>
          </a:spcBef>
          <a:buFont typeface="Arial" panose="020B0604020202020204" pitchFamily="34" charset="0"/>
          <a:buChar char="•"/>
          <a:defRPr sz="1400" dirty="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333333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marL="180000" indent="-180000">
          <a:spcBef>
            <a:spcPts val="600"/>
          </a:spcBef>
          <a:buFont typeface="Arial" panose="020B0604020202020204" pitchFamily="34" charset="0"/>
          <a:buChar char="•"/>
          <a:defRPr sz="1600" dirty="0" smtClean="0"/>
        </a:defPPr>
      </a:lstStyle>
    </a:txDef>
  </a:objectDefaults>
  <a:extraClrSchemeLst/>
  <a:custClrLst>
    <a:custClr>
      <a:srgbClr val="FFFFFF"/>
    </a:custClr>
    <a:custClr name="Grey">
      <a:srgbClr val="3C3732"/>
    </a:custClr>
    <a:custClr name="Pulsing Purple Bright">
      <a:srgbClr val="C81E82"/>
    </a:custClr>
    <a:custClr name="Fiery Fuchsia Bright">
      <a:srgbClr val="E60055"/>
    </a:custClr>
    <a:custClr name="Radiant Red Bright">
      <a:srgbClr val="EB4B0A"/>
    </a:custClr>
    <a:custClr name="Mellow Yellow Bright">
      <a:srgbClr val="F59B00"/>
    </a:custClr>
    <a:custClr name="Galvanic Green Bright">
      <a:srgbClr val="64B42D"/>
    </a:custClr>
    <a:custClr name="Blazing Blue Bright">
      <a:srgbClr val="009BA5"/>
    </a:custClr>
    <a:custClr name="Iridescent Indigo Bright">
      <a:srgbClr val="00AAE1"/>
    </a:custClr>
    <a:custClr>
      <a:srgbClr val="FFFFFF"/>
    </a:custClr>
    <a:custClr>
      <a:srgbClr val="FFFFFF"/>
    </a:custClr>
    <a:custClr name="Grey 80%">
      <a:srgbClr val="635F5B"/>
    </a:custClr>
    <a:custClr name="Pulsing Purple Muted">
      <a:srgbClr val="780A5F"/>
    </a:custClr>
    <a:custClr name="Fiery Fuchsia Muted">
      <a:srgbClr val="A50032"/>
    </a:custClr>
    <a:custClr name="Radiant Red Muted">
      <a:srgbClr val="B9280A"/>
    </a:custClr>
    <a:custClr name="Mellow Yellow Muted">
      <a:srgbClr val="D27300"/>
    </a:custClr>
    <a:custClr name="Galvanic Green Muted">
      <a:srgbClr val="00875A"/>
    </a:custClr>
    <a:custClr name="Blazing Blue Muted">
      <a:srgbClr val="005F69"/>
    </a:custClr>
    <a:custClr name="Iridescent Indigo Muted">
      <a:srgbClr val="143C8C"/>
    </a:custClr>
    <a:custClr>
      <a:srgbClr val="FFFFFF"/>
    </a:custClr>
    <a:custClr>
      <a:srgbClr val="FFFFFF"/>
    </a:custClr>
    <a:custClr name="Grey 60%">
      <a:srgbClr val="8A8784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Grey 40%">
      <a:srgbClr val="B1AFAD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Grey 20%">
      <a:srgbClr val="D8D7D6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GasNet_PPT_sablona_16ku9" id="{551BD62F-2D6E-42FC-A8A7-341FC0D2E0C0}" vid="{0A11CD6E-7E55-4F86-A7F8-31B9FB53F7F0}"/>
    </a:ext>
  </a:extLst>
</a:theme>
</file>

<file path=ppt/theme/theme2.xml><?xml version="1.0" encoding="utf-8"?>
<a:theme xmlns:a="http://schemas.openxmlformats.org/drawingml/2006/main" name="GasNet 16ku9 - manuál">
  <a:themeElements>
    <a:clrScheme name="GasNet">
      <a:dk1>
        <a:sysClr val="windowText" lastClr="000000"/>
      </a:dk1>
      <a:lt1>
        <a:sysClr val="window" lastClr="FFFFFF"/>
      </a:lt1>
      <a:dk2>
        <a:srgbClr val="40C400"/>
      </a:dk2>
      <a:lt2>
        <a:srgbClr val="E6E6E6"/>
      </a:lt2>
      <a:accent1>
        <a:srgbClr val="D1363E"/>
      </a:accent1>
      <a:accent2>
        <a:srgbClr val="236018"/>
      </a:accent2>
      <a:accent3>
        <a:srgbClr val="D9D9D9"/>
      </a:accent3>
      <a:accent4>
        <a:srgbClr val="F8F8F8"/>
      </a:accent4>
      <a:accent5>
        <a:srgbClr val="878787"/>
      </a:accent5>
      <a:accent6>
        <a:srgbClr val="5A5A5A"/>
      </a:accent6>
      <a:hlink>
        <a:srgbClr val="000000"/>
      </a:hlink>
      <a:folHlink>
        <a:srgbClr val="000000"/>
      </a:folHlink>
    </a:clrScheme>
    <a:fontScheme name="GasNet NEW">
      <a:majorFont>
        <a:latin typeface="Segoe UI Semibold"/>
        <a:ea typeface=""/>
        <a:cs typeface=""/>
      </a:majorFont>
      <a:minorFont>
        <a:latin typeface="Segoe UI Light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64B42D"/>
        </a:solidFill>
        <a:ln cap="sq">
          <a:noFill/>
          <a:miter lim="800000"/>
        </a:ln>
      </a:spPr>
      <a:bodyPr rot="0" spcFirstLastPara="0" vertOverflow="overflow" horzOverflow="overflow" vert="horz" wrap="square" lIns="144000" tIns="72000" rIns="144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marL="180000" indent="-180000" algn="ctr">
          <a:spcBef>
            <a:spcPts val="600"/>
          </a:spcBef>
          <a:buFont typeface="Arial" panose="020B0604020202020204" pitchFamily="34" charset="0"/>
          <a:buChar char="•"/>
          <a:defRPr sz="1400" dirty="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333333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marL="180000" indent="-180000">
          <a:spcBef>
            <a:spcPts val="600"/>
          </a:spcBef>
          <a:buFont typeface="Arial" panose="020B0604020202020204" pitchFamily="34" charset="0"/>
          <a:buChar char="•"/>
          <a:defRPr sz="1600" dirty="0" smtClean="0"/>
        </a:defPPr>
      </a:lstStyle>
    </a:txDef>
  </a:objectDefaults>
  <a:extraClrSchemeLst/>
  <a:custClrLst>
    <a:custClr>
      <a:srgbClr val="FFFFFF"/>
    </a:custClr>
    <a:custClr name="Grey">
      <a:srgbClr val="3C3732"/>
    </a:custClr>
    <a:custClr name="Pulsing Purple Bright">
      <a:srgbClr val="C81E82"/>
    </a:custClr>
    <a:custClr name="Fiery Fuchsia Bright">
      <a:srgbClr val="E60055"/>
    </a:custClr>
    <a:custClr name="Radiant Red Bright">
      <a:srgbClr val="EB4B0A"/>
    </a:custClr>
    <a:custClr name="Mellow Yellow Bright">
      <a:srgbClr val="F59B00"/>
    </a:custClr>
    <a:custClr name="Galvanic Green Bright">
      <a:srgbClr val="64B42D"/>
    </a:custClr>
    <a:custClr name="Blazing Blue Bright">
      <a:srgbClr val="009BA5"/>
    </a:custClr>
    <a:custClr name="Iridescent Indigo Bright">
      <a:srgbClr val="00AAE1"/>
    </a:custClr>
    <a:custClr>
      <a:srgbClr val="FFFFFF"/>
    </a:custClr>
    <a:custClr>
      <a:srgbClr val="FFFFFF"/>
    </a:custClr>
    <a:custClr name="Grey 80%">
      <a:srgbClr val="635F5B"/>
    </a:custClr>
    <a:custClr name="Pulsing Purple Muted">
      <a:srgbClr val="780A5F"/>
    </a:custClr>
    <a:custClr name="Fiery Fuchsia Muted">
      <a:srgbClr val="A50032"/>
    </a:custClr>
    <a:custClr name="Radiant Red Muted">
      <a:srgbClr val="B9280A"/>
    </a:custClr>
    <a:custClr name="Mellow Yellow Muted">
      <a:srgbClr val="D27300"/>
    </a:custClr>
    <a:custClr name="Galvanic Green Muted">
      <a:srgbClr val="00875A"/>
    </a:custClr>
    <a:custClr name="Blazing Blue Muted">
      <a:srgbClr val="005F69"/>
    </a:custClr>
    <a:custClr name="Iridescent Indigo Muted">
      <a:srgbClr val="143C8C"/>
    </a:custClr>
    <a:custClr>
      <a:srgbClr val="FFFFFF"/>
    </a:custClr>
    <a:custClr>
      <a:srgbClr val="FFFFFF"/>
    </a:custClr>
    <a:custClr name="Grey 60%">
      <a:srgbClr val="8A8784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Grey 40%">
      <a:srgbClr val="B1AFAD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Grey 20%">
      <a:srgbClr val="D8D7D6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GasNet_PPT_sablona_16ku9" id="{551BD62F-2D6E-42FC-A8A7-341FC0D2E0C0}" vid="{093C2852-83D9-4F32-9AE3-5D4E37BF6A0F}"/>
    </a:ext>
  </a:extLst>
</a:theme>
</file>

<file path=ppt/theme/theme3.xml><?xml version="1.0" encoding="utf-8"?>
<a:theme xmlns:a="http://schemas.openxmlformats.org/drawingml/2006/main" name="GasNet 16ku9 - rozšířené">
  <a:themeElements>
    <a:clrScheme name="GasNet">
      <a:dk1>
        <a:sysClr val="windowText" lastClr="000000"/>
      </a:dk1>
      <a:lt1>
        <a:sysClr val="window" lastClr="FFFFFF"/>
      </a:lt1>
      <a:dk2>
        <a:srgbClr val="40C400"/>
      </a:dk2>
      <a:lt2>
        <a:srgbClr val="E6E6E6"/>
      </a:lt2>
      <a:accent1>
        <a:srgbClr val="D1363E"/>
      </a:accent1>
      <a:accent2>
        <a:srgbClr val="236018"/>
      </a:accent2>
      <a:accent3>
        <a:srgbClr val="D9D9D9"/>
      </a:accent3>
      <a:accent4>
        <a:srgbClr val="F8F8F8"/>
      </a:accent4>
      <a:accent5>
        <a:srgbClr val="878787"/>
      </a:accent5>
      <a:accent6>
        <a:srgbClr val="5A5A5A"/>
      </a:accent6>
      <a:hlink>
        <a:srgbClr val="000000"/>
      </a:hlink>
      <a:folHlink>
        <a:srgbClr val="000000"/>
      </a:folHlink>
    </a:clrScheme>
    <a:fontScheme name="GasNet NEW">
      <a:majorFont>
        <a:latin typeface="Segoe UI Semibold"/>
        <a:ea typeface=""/>
        <a:cs typeface=""/>
      </a:majorFont>
      <a:minorFont>
        <a:latin typeface="Segoe UI Light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64B42D"/>
        </a:solidFill>
        <a:ln cap="sq">
          <a:noFill/>
          <a:miter lim="800000"/>
        </a:ln>
      </a:spPr>
      <a:bodyPr rot="0" spcFirstLastPara="0" vertOverflow="overflow" horzOverflow="overflow" vert="horz" wrap="square" lIns="144000" tIns="72000" rIns="144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marL="180000" indent="-180000" algn="ctr">
          <a:spcBef>
            <a:spcPts val="600"/>
          </a:spcBef>
          <a:buFont typeface="Arial" panose="020B0604020202020204" pitchFamily="34" charset="0"/>
          <a:buChar char="•"/>
          <a:defRPr sz="1400" dirty="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333333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marL="180000" indent="-180000">
          <a:spcBef>
            <a:spcPts val="600"/>
          </a:spcBef>
          <a:buFont typeface="Arial" panose="020B0604020202020204" pitchFamily="34" charset="0"/>
          <a:buChar char="•"/>
          <a:defRPr sz="1600" dirty="0" smtClean="0"/>
        </a:defPPr>
      </a:lstStyle>
    </a:txDef>
  </a:objectDefaults>
  <a:extraClrSchemeLst/>
  <a:custClrLst>
    <a:custClr>
      <a:srgbClr val="FFFFFF"/>
    </a:custClr>
    <a:custClr name="Grey">
      <a:srgbClr val="3C3732"/>
    </a:custClr>
    <a:custClr name="Pulsing Purple Bright">
      <a:srgbClr val="C81E82"/>
    </a:custClr>
    <a:custClr name="Fiery Fuchsia Bright">
      <a:srgbClr val="E60055"/>
    </a:custClr>
    <a:custClr name="Radiant Red Bright">
      <a:srgbClr val="EB4B0A"/>
    </a:custClr>
    <a:custClr name="Mellow Yellow Bright">
      <a:srgbClr val="F59B00"/>
    </a:custClr>
    <a:custClr name="Galvanic Green Bright">
      <a:srgbClr val="64B42D"/>
    </a:custClr>
    <a:custClr name="Blazing Blue Bright">
      <a:srgbClr val="009BA5"/>
    </a:custClr>
    <a:custClr name="Iridescent Indigo Bright">
      <a:srgbClr val="00AAE1"/>
    </a:custClr>
    <a:custClr>
      <a:srgbClr val="FFFFFF"/>
    </a:custClr>
    <a:custClr>
      <a:srgbClr val="FFFFFF"/>
    </a:custClr>
    <a:custClr name="Grey 80%">
      <a:srgbClr val="635F5B"/>
    </a:custClr>
    <a:custClr name="Pulsing Purple Muted">
      <a:srgbClr val="780A5F"/>
    </a:custClr>
    <a:custClr name="Fiery Fuchsia Muted">
      <a:srgbClr val="A50032"/>
    </a:custClr>
    <a:custClr name="Radiant Red Muted">
      <a:srgbClr val="B9280A"/>
    </a:custClr>
    <a:custClr name="Mellow Yellow Muted">
      <a:srgbClr val="D27300"/>
    </a:custClr>
    <a:custClr name="Galvanic Green Muted">
      <a:srgbClr val="00875A"/>
    </a:custClr>
    <a:custClr name="Blazing Blue Muted">
      <a:srgbClr val="005F69"/>
    </a:custClr>
    <a:custClr name="Iridescent Indigo Muted">
      <a:srgbClr val="143C8C"/>
    </a:custClr>
    <a:custClr>
      <a:srgbClr val="FFFFFF"/>
    </a:custClr>
    <a:custClr>
      <a:srgbClr val="FFFFFF"/>
    </a:custClr>
    <a:custClr name="Grey 60%">
      <a:srgbClr val="8A8784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Grey 40%">
      <a:srgbClr val="B1AFAD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Grey 20%">
      <a:srgbClr val="D8D7D6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GasNet_PPT_sablona_16ku9" id="{551BD62F-2D6E-42FC-A8A7-341FC0D2E0C0}" vid="{535B9867-1DBE-4B26-B77E-70FCB386CB1D}"/>
    </a:ext>
  </a:extLst>
</a:theme>
</file>

<file path=ppt/theme/theme4.xml><?xml version="1.0" encoding="utf-8"?>
<a:theme xmlns:a="http://schemas.openxmlformats.org/drawingml/2006/main" name="Office">
  <a:themeElements>
    <a:clrScheme name="GasNet">
      <a:dk1>
        <a:sysClr val="windowText" lastClr="000000"/>
      </a:dk1>
      <a:lt1>
        <a:sysClr val="window" lastClr="FFFFFF"/>
      </a:lt1>
      <a:dk2>
        <a:srgbClr val="40C400"/>
      </a:dk2>
      <a:lt2>
        <a:srgbClr val="E6E6E6"/>
      </a:lt2>
      <a:accent1>
        <a:srgbClr val="D1363E"/>
      </a:accent1>
      <a:accent2>
        <a:srgbClr val="236018"/>
      </a:accent2>
      <a:accent3>
        <a:srgbClr val="D9D9D9"/>
      </a:accent3>
      <a:accent4>
        <a:srgbClr val="F8F8F8"/>
      </a:accent4>
      <a:accent5>
        <a:srgbClr val="878787"/>
      </a:accent5>
      <a:accent6>
        <a:srgbClr val="5A5A5A"/>
      </a:accent6>
      <a:hlink>
        <a:srgbClr val="40C400"/>
      </a:hlink>
      <a:folHlink>
        <a:srgbClr val="878787"/>
      </a:folHlink>
    </a:clrScheme>
    <a:fontScheme name="GasNet NEW">
      <a:majorFont>
        <a:latin typeface="Segoe UI Semibold"/>
        <a:ea typeface=""/>
        <a:cs typeface=""/>
      </a:majorFont>
      <a:minorFont>
        <a:latin typeface="Segoe U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">
  <a:themeElements>
    <a:clrScheme name="GasNet">
      <a:dk1>
        <a:sysClr val="windowText" lastClr="000000"/>
      </a:dk1>
      <a:lt1>
        <a:sysClr val="window" lastClr="FFFFFF"/>
      </a:lt1>
      <a:dk2>
        <a:srgbClr val="40C400"/>
      </a:dk2>
      <a:lt2>
        <a:srgbClr val="E6E6E6"/>
      </a:lt2>
      <a:accent1>
        <a:srgbClr val="D1363E"/>
      </a:accent1>
      <a:accent2>
        <a:srgbClr val="236018"/>
      </a:accent2>
      <a:accent3>
        <a:srgbClr val="D9D9D9"/>
      </a:accent3>
      <a:accent4>
        <a:srgbClr val="F8F8F8"/>
      </a:accent4>
      <a:accent5>
        <a:srgbClr val="878787"/>
      </a:accent5>
      <a:accent6>
        <a:srgbClr val="5A5A5A"/>
      </a:accent6>
      <a:hlink>
        <a:srgbClr val="40C400"/>
      </a:hlink>
      <a:folHlink>
        <a:srgbClr val="878787"/>
      </a:folHlink>
    </a:clrScheme>
    <a:fontScheme name="GasNet NEW">
      <a:majorFont>
        <a:latin typeface="Segoe UI Semibold"/>
        <a:ea typeface=""/>
        <a:cs typeface=""/>
      </a:majorFont>
      <a:minorFont>
        <a:latin typeface="Segoe U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GasNet">
    <a:dk1>
      <a:sysClr val="windowText" lastClr="000000"/>
    </a:dk1>
    <a:lt1>
      <a:sysClr val="window" lastClr="FFFFFF"/>
    </a:lt1>
    <a:dk2>
      <a:srgbClr val="40C400"/>
    </a:dk2>
    <a:lt2>
      <a:srgbClr val="E6E6E6"/>
    </a:lt2>
    <a:accent1>
      <a:srgbClr val="40C400"/>
    </a:accent1>
    <a:accent2>
      <a:srgbClr val="236018"/>
    </a:accent2>
    <a:accent3>
      <a:srgbClr val="D9D9D9"/>
    </a:accent3>
    <a:accent4>
      <a:srgbClr val="F8F8F8"/>
    </a:accent4>
    <a:accent5>
      <a:srgbClr val="878787"/>
    </a:accent5>
    <a:accent6>
      <a:srgbClr val="5A5A5A"/>
    </a:accent6>
    <a:hlink>
      <a:srgbClr val="000000"/>
    </a:hlink>
    <a:folHlink>
      <a:srgbClr val="000000"/>
    </a:folHlink>
  </a:clrScheme>
</a:themeOverride>
</file>

<file path=ppt/theme/themeOverride2.xml><?xml version="1.0" encoding="utf-8"?>
<a:themeOverride xmlns:a="http://schemas.openxmlformats.org/drawingml/2006/main">
  <a:clrScheme name="GasNet">
    <a:dk1>
      <a:sysClr val="windowText" lastClr="000000"/>
    </a:dk1>
    <a:lt1>
      <a:sysClr val="window" lastClr="FFFFFF"/>
    </a:lt1>
    <a:dk2>
      <a:srgbClr val="40C400"/>
    </a:dk2>
    <a:lt2>
      <a:srgbClr val="E6E6E6"/>
    </a:lt2>
    <a:accent1>
      <a:srgbClr val="40C400"/>
    </a:accent1>
    <a:accent2>
      <a:srgbClr val="236018"/>
    </a:accent2>
    <a:accent3>
      <a:srgbClr val="D9D9D9"/>
    </a:accent3>
    <a:accent4>
      <a:srgbClr val="F8F8F8"/>
    </a:accent4>
    <a:accent5>
      <a:srgbClr val="878787"/>
    </a:accent5>
    <a:accent6>
      <a:srgbClr val="5A5A5A"/>
    </a:accent6>
    <a:hlink>
      <a:srgbClr val="000000"/>
    </a:hlink>
    <a:folHlink>
      <a:srgbClr val="000000"/>
    </a:folHlink>
  </a:clrScheme>
</a:themeOverride>
</file>

<file path=ppt/theme/themeOverride3.xml><?xml version="1.0" encoding="utf-8"?>
<a:themeOverride xmlns:a="http://schemas.openxmlformats.org/drawingml/2006/main">
  <a:clrScheme name="GasNet">
    <a:dk1>
      <a:sysClr val="windowText" lastClr="000000"/>
    </a:dk1>
    <a:lt1>
      <a:sysClr val="window" lastClr="FFFFFF"/>
    </a:lt1>
    <a:dk2>
      <a:srgbClr val="40C400"/>
    </a:dk2>
    <a:lt2>
      <a:srgbClr val="E6E6E6"/>
    </a:lt2>
    <a:accent1>
      <a:srgbClr val="40C400"/>
    </a:accent1>
    <a:accent2>
      <a:srgbClr val="236018"/>
    </a:accent2>
    <a:accent3>
      <a:srgbClr val="D9D9D9"/>
    </a:accent3>
    <a:accent4>
      <a:srgbClr val="F8F8F8"/>
    </a:accent4>
    <a:accent5>
      <a:srgbClr val="878787"/>
    </a:accent5>
    <a:accent6>
      <a:srgbClr val="5A5A5A"/>
    </a:accent6>
    <a:hlink>
      <a:srgbClr val="000000"/>
    </a:hlink>
    <a:folHlink>
      <a:srgbClr val="000000"/>
    </a:folHlink>
  </a:clrScheme>
</a:themeOverride>
</file>

<file path=ppt/theme/themeOverride4.xml><?xml version="1.0" encoding="utf-8"?>
<a:themeOverride xmlns:a="http://schemas.openxmlformats.org/drawingml/2006/main">
  <a:clrScheme name="GasNet">
    <a:dk1>
      <a:sysClr val="windowText" lastClr="000000"/>
    </a:dk1>
    <a:lt1>
      <a:sysClr val="window" lastClr="FFFFFF"/>
    </a:lt1>
    <a:dk2>
      <a:srgbClr val="40C400"/>
    </a:dk2>
    <a:lt2>
      <a:srgbClr val="E6E6E6"/>
    </a:lt2>
    <a:accent1>
      <a:srgbClr val="40C400"/>
    </a:accent1>
    <a:accent2>
      <a:srgbClr val="236018"/>
    </a:accent2>
    <a:accent3>
      <a:srgbClr val="D9D9D9"/>
    </a:accent3>
    <a:accent4>
      <a:srgbClr val="F8F8F8"/>
    </a:accent4>
    <a:accent5>
      <a:srgbClr val="878787"/>
    </a:accent5>
    <a:accent6>
      <a:srgbClr val="5A5A5A"/>
    </a:accent6>
    <a:hlink>
      <a:srgbClr val="000000"/>
    </a:hlink>
    <a:folHlink>
      <a:srgbClr val="000000"/>
    </a:folHlink>
  </a:clrScheme>
</a:themeOverride>
</file>

<file path=ppt/theme/themeOverride5.xml><?xml version="1.0" encoding="utf-8"?>
<a:themeOverride xmlns:a="http://schemas.openxmlformats.org/drawingml/2006/main">
  <a:clrScheme name="GasNet">
    <a:dk1>
      <a:sysClr val="windowText" lastClr="000000"/>
    </a:dk1>
    <a:lt1>
      <a:sysClr val="window" lastClr="FFFFFF"/>
    </a:lt1>
    <a:dk2>
      <a:srgbClr val="40C400"/>
    </a:dk2>
    <a:lt2>
      <a:srgbClr val="E6E6E6"/>
    </a:lt2>
    <a:accent1>
      <a:srgbClr val="40C400"/>
    </a:accent1>
    <a:accent2>
      <a:srgbClr val="236018"/>
    </a:accent2>
    <a:accent3>
      <a:srgbClr val="D9D9D9"/>
    </a:accent3>
    <a:accent4>
      <a:srgbClr val="F8F8F8"/>
    </a:accent4>
    <a:accent5>
      <a:srgbClr val="878787"/>
    </a:accent5>
    <a:accent6>
      <a:srgbClr val="5A5A5A"/>
    </a:accent6>
    <a:hlink>
      <a:srgbClr val="000000"/>
    </a:hlink>
    <a:folHlink>
      <a:srgbClr val="000000"/>
    </a:folHlink>
  </a:clrScheme>
</a:themeOverride>
</file>

<file path=ppt/theme/themeOverride6.xml><?xml version="1.0" encoding="utf-8"?>
<a:themeOverride xmlns:a="http://schemas.openxmlformats.org/drawingml/2006/main">
  <a:clrScheme name="GasNet">
    <a:dk1>
      <a:sysClr val="windowText" lastClr="000000"/>
    </a:dk1>
    <a:lt1>
      <a:sysClr val="window" lastClr="FFFFFF"/>
    </a:lt1>
    <a:dk2>
      <a:srgbClr val="40C400"/>
    </a:dk2>
    <a:lt2>
      <a:srgbClr val="E6E6E6"/>
    </a:lt2>
    <a:accent1>
      <a:srgbClr val="40C400"/>
    </a:accent1>
    <a:accent2>
      <a:srgbClr val="236018"/>
    </a:accent2>
    <a:accent3>
      <a:srgbClr val="D9D9D9"/>
    </a:accent3>
    <a:accent4>
      <a:srgbClr val="F8F8F8"/>
    </a:accent4>
    <a:accent5>
      <a:srgbClr val="878787"/>
    </a:accent5>
    <a:accent6>
      <a:srgbClr val="5A5A5A"/>
    </a:accent6>
    <a:hlink>
      <a:srgbClr val="000000"/>
    </a:hlink>
    <a:folHlink>
      <a:srgbClr val="000000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2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.xml"/></Relationships>
</file>

<file path=customXml/_rels/item2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.xml"/></Relationships>
</file>

<file path=customXml/_rels/item2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.xml"/></Relationships>
</file>

<file path=customXml/_rels/item2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.xml"/></Relationships>
</file>

<file path=customXml/_rels/item2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.xml"/></Relationships>
</file>

<file path=customXml/_rels/item2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.xml"/></Relationships>
</file>

<file path=customXml/_rels/item2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6.xml"/></Relationships>
</file>

<file path=customXml/_rels/item2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7.xml"/></Relationships>
</file>

<file path=customXml/_rels/item2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8.xml"/></Relationships>
</file>

<file path=customXml/_rels/item2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9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3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0.xml"/></Relationships>
</file>

<file path=customXml/_rels/item3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1.xml"/></Relationships>
</file>

<file path=customXml/_rels/item3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2.xml"/></Relationships>
</file>

<file path=customXml/_rels/item3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3.xml"/></Relationships>
</file>

<file path=customXml/_rels/item3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4.xml"/></Relationships>
</file>

<file path=customXml/_rels/item3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5.xml"/></Relationships>
</file>

<file path=customXml/_rels/item3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6.xml"/></Relationships>
</file>

<file path=customXml/_rels/item3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7.xml"/></Relationships>
</file>

<file path=customXml/_rels/item3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8.xml"/></Relationships>
</file>

<file path=customXml/_rels/item3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9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4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0.xml"/></Relationships>
</file>

<file path=customXml/_rels/item4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1.xml"/></Relationships>
</file>

<file path=customXml/_rels/item4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2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TemplafySlideTemplateConfiguration><![CDATA[{"slideVersion":1,"isValidatorEnabled":false,"isLocked":false,"elementsMetadata":[],"slideId":"921993509173723144","enableDocumentContentUpdater":false,"version":"2.0"}]]></TemplafySlideTemplateConfiguration>
</file>

<file path=customXml/item10.xml><?xml version="1.0" encoding="utf-8"?>
<TemplafySlideFormConfiguration><![CDATA[{"formFields":[],"formDataEntries":[]}]]></TemplafySlideFormConfiguration>
</file>

<file path=customXml/item11.xml><?xml version="1.0" encoding="utf-8"?>
<TemplafySlideFormConfiguration><![CDATA[{"formFields":[],"formDataEntries":[]}]]></TemplafySlideFormConfiguration>
</file>

<file path=customXml/item12.xml><?xml version="1.0" encoding="utf-8"?>
<TemplafySlideTemplateConfiguration><![CDATA[{"slideVersion":1,"isValidatorEnabled":false,"isLocked":false,"elementsMetadata":[],"slideId":"921993509173723144","enableDocumentContentUpdater":false,"version":"2.0"}]]></TemplafySlideTemplateConfiguration>
</file>

<file path=customXml/item13.xml><?xml version="1.0" encoding="utf-8"?>
<TemplafySlideFormConfiguration><![CDATA[{"formFields":[],"formDataEntries":[]}]]></TemplafySlideFormConfiguration>
</file>

<file path=customXml/item14.xml><?xml version="1.0" encoding="utf-8"?>
<TemplafySlideTemplateConfiguration><![CDATA[{"slideVersion":1,"isValidatorEnabled":false,"isLocked":false,"elementsMetadata":[],"slideId":"921993509173723144","enableDocumentContentUpdater":false,"version":"2.0"}]]></TemplafySlideTemplateConfiguration>
</file>

<file path=customXml/item15.xml><?xml version="1.0" encoding="utf-8"?>
<TemplafySlideTemplateConfiguration><![CDATA[{"slideVersion":1,"isValidatorEnabled":false,"isLocked":false,"elementsMetadata":[],"slideId":"921993509173723144","enableDocumentContentUpdater":false,"version":"2.0"}]]></TemplafySlideTemplateConfiguration>
</file>

<file path=customXml/item16.xml><?xml version="1.0" encoding="utf-8"?>
<TemplafySlideFormConfiguration><![CDATA[{"formFields":[],"formDataEntries":[]}]]></TemplafySlideFormConfiguration>
</file>

<file path=customXml/item17.xml><?xml version="1.0" encoding="utf-8"?>
<TemplafySlideFormConfiguration><![CDATA[{"formFields":[],"formDataEntries":[]}]]></TemplafySlideFormConfiguration>
</file>

<file path=customXml/item18.xml><?xml version="1.0" encoding="utf-8"?>
<TemplafySlideTemplateConfiguration><![CDATA[{"slideVersion":1,"isValidatorEnabled":false,"isLocked":false,"elementsMetadata":[],"slideId":"921993509173723144","enableDocumentContentUpdater":false,"version":"2.0"}]]></TemplafySlideTemplateConfiguration>
</file>

<file path=customXml/item19.xml><?xml version="1.0" encoding="utf-8"?>
<TemplafySlideFormConfiguration><![CDATA[{"formFields":[],"formDataEntries":[]}]]></TemplafySlideFormConfiguration>
</file>

<file path=customXml/item2.xml><?xml version="1.0" encoding="utf-8"?>
<TemplafySlideFormConfiguration><![CDATA[{"formFields":[],"formDataEntries":[]}]]></TemplafySlideFormConfiguration>
</file>

<file path=customXml/item20.xml><?xml version="1.0" encoding="utf-8"?>
<TemplafySlideTemplateConfiguration><![CDATA[{"slideVersion":1,"isValidatorEnabled":false,"isLocked":false,"elementsMetadata":[],"slideId":"921993509173723144","enableDocumentContentUpdater":false,"version":"2.0"}]]></TemplafySlideTemplateConfiguration>
</file>

<file path=customXml/item21.xml><?xml version="1.0" encoding="utf-8"?>
<TemplafySlideFormConfiguration><![CDATA[{"formFields":[],"formDataEntries":[]}]]></TemplafySlideFormConfiguration>
</file>

<file path=customXml/item22.xml><?xml version="1.0" encoding="utf-8"?>
<TemplafySlideTemplateConfiguration><![CDATA[{"slideVersion":1,"isValidatorEnabled":false,"isLocked":false,"elementsMetadata":[],"slideId":"921993509173723144","enableDocumentContentUpdater":false,"version":"2.0"}]]></TemplafySlideTemplateConfiguration>
</file>

<file path=customXml/item23.xml><?xml version="1.0" encoding="utf-8"?>
<TemplafySlideTemplateConfiguration><![CDATA[{"slideVersion":1,"isValidatorEnabled":false,"isLocked":false,"elementsMetadata":[],"slideId":"921993509173723144","enableDocumentContentUpdater":false,"version":"2.0"}]]></TemplafySlideTemplateConfiguration>
</file>

<file path=customXml/item24.xml><?xml version="1.0" encoding="utf-8"?>
<TemplafySlideFormConfiguration><![CDATA[{"formFields":[],"formDataEntries":[]}]]></TemplafySlideFormConfiguration>
</file>

<file path=customXml/item25.xml><?xml version="1.0" encoding="utf-8"?>
<TemplafySlideTemplateConfiguration><![CDATA[{"slideVersion":1,"isValidatorEnabled":false,"isLocked":false,"elementsMetadata":[],"slideId":"921993509173723144","enableDocumentContentUpdater":false,"version":"2.0"}]]></TemplafySlideTemplateConfiguration>
</file>

<file path=customXml/item26.xml><?xml version="1.0" encoding="utf-8"?>
<TemplafySlideFormConfiguration><![CDATA[{"formFields":[],"formDataEntries":[]}]]></TemplafySlideFormConfiguration>
</file>

<file path=customXml/item27.xml><?xml version="1.0" encoding="utf-8"?>
<TemplafySlideFormConfiguration><![CDATA[{"formFields":[],"formDataEntries":[]}]]></TemplafySlideFormConfiguration>
</file>

<file path=customXml/item28.xml><?xml version="1.0" encoding="utf-8"?>
<TemplafySlideTemplateConfiguration><![CDATA[{"slideVersion":1,"isValidatorEnabled":false,"isLocked":false,"elementsMetadata":[],"slideId":"921993509173723144","enableDocumentContentUpdater":false,"version":"2.0"}]]></TemplafySlideTemplateConfiguration>
</file>

<file path=customXml/item29.xml><?xml version="1.0" encoding="utf-8"?>
<TemplafySlideFormConfiguration><![CDATA[{"formFields":[],"formDataEntries":[]}]]></TemplafySlideFormConfiguration>
</file>

<file path=customXml/item3.xml><?xml version="1.0" encoding="utf-8"?>
<TemplafySlideTemplateConfiguration><![CDATA[{"slideVersion":1,"isValidatorEnabled":false,"isLocked":false,"elementsMetadata":[],"slideId":"921993509173723144","enableDocumentContentUpdater":false,"version":"2.0"}]]></TemplafySlideTemplateConfiguration>
</file>

<file path=customXml/item30.xml><?xml version="1.0" encoding="utf-8"?>
<TemplafySlideTemplateConfiguration><![CDATA[{"slideVersion":1,"isValidatorEnabled":false,"isLocked":false,"elementsMetadata":[],"slideId":"921993509173723144","enableDocumentContentUpdater":false,"version":"2.0"}]]></TemplafySlideTemplateConfiguration>
</file>

<file path=customXml/item31.xml><?xml version="1.0" encoding="utf-8"?>
<TemplafySlideFormConfiguration><![CDATA[{"formFields":[],"formDataEntries":[]}]]></TemplafySlideFormConfiguration>
</file>

<file path=customXml/item32.xml><?xml version="1.0" encoding="utf-8"?>
<TemplafySlideTemplateConfiguration><![CDATA[{"slideVersion":1,"isValidatorEnabled":false,"isLocked":false,"elementsMetadata":[],"slideId":"921993509173723144","enableDocumentContentUpdater":false,"version":"2.0"}]]></TemplafySlideTemplateConfiguration>
</file>

<file path=customXml/item33.xml><?xml version="1.0" encoding="utf-8"?>
<TemplafySlideFormConfiguration><![CDATA[{"formFields":[],"formDataEntries":[]}]]></TemplafySlideFormConfiguration>
</file>

<file path=customXml/item34.xml><?xml version="1.0" encoding="utf-8"?>
<TemplafySlideTemplateConfiguration><![CDATA[{"slideVersion":1,"isValidatorEnabled":false,"isLocked":false,"elementsMetadata":[],"slideId":"921993509173723144","enableDocumentContentUpdater":false,"version":"2.0"}]]></TemplafySlideTemplateConfiguration>
</file>

<file path=customXml/item35.xml><?xml version="1.0" encoding="utf-8"?>
<TemplafySlideTemplateConfiguration><![CDATA[{"slideVersion":1,"isValidatorEnabled":false,"isLocked":false,"elementsMetadata":[],"slideId":"921993509173723144","enableDocumentContentUpdater":false,"version":"2.0"}]]></TemplafySlideTemplateConfiguration>
</file>

<file path=customXml/item36.xml><?xml version="1.0" encoding="utf-8"?>
<TemplafySlideFormConfiguration><![CDATA[{"formFields":[],"formDataEntries":[]}]]></TemplafySlideFormConfiguration>
</file>

<file path=customXml/item37.xml><?xml version="1.0" encoding="utf-8"?>
<TemplafySlideFormConfiguration><![CDATA[{"formFields":[],"formDataEntries":[]}]]></TemplafySlideFormConfiguration>
</file>

<file path=customXml/item38.xml><?xml version="1.0" encoding="utf-8"?>
<TemplafySlideTemplateConfiguration><![CDATA[{"slideVersion":1,"isValidatorEnabled":false,"isLocked":false,"elementsMetadata":[],"slideId":"921993509173723144","enableDocumentContentUpdater":false,"version":"2.0"}]]></TemplafySlideTemplateConfiguration>
</file>

<file path=customXml/item39.xml><?xml version="1.0" encoding="utf-8"?>
<TemplafySlideTemplateConfiguration><![CDATA[{"slideVersion":1,"isValidatorEnabled":false,"isLocked":false,"elementsMetadata":[],"slideId":"921993509173723144","enableDocumentContentUpdater":false,"version":"2.0"}]]></TemplafySlideTemplateConfiguration>
</file>

<file path=customXml/item4.xml><?xml version="1.0" encoding="utf-8"?>
<TemplafySlideFormConfiguration><![CDATA[{"formFields":[],"formDataEntries":[]}]]></TemplafySlideFormConfiguration>
</file>

<file path=customXml/item40.xml><?xml version="1.0" encoding="utf-8"?>
<TemplafySlideFormConfiguration><![CDATA[{"formFields":[],"formDataEntries":[]}]]></TemplafySlideFormConfiguration>
</file>

<file path=customXml/item41.xml><?xml version="1.0" encoding="utf-8"?>
<TemplafySlideTemplateConfiguration><![CDATA[{"slideVersion":1,"isValidatorEnabled":false,"isLocked":false,"elementsMetadata":[],"slideId":"921993509173723144","enableDocumentContentUpdater":false,"version":"2.0"}]]></TemplafySlideTemplateConfiguration>
</file>

<file path=customXml/item42.xml><?xml version="1.0" encoding="utf-8"?>
<TemplafySlideFormConfiguration><![CDATA[{"formFields":[],"formDataEntries":[]}]]></TemplafySlideFormConfiguration>
</file>

<file path=customXml/item5.xml><?xml version="1.0" encoding="utf-8"?>
<TemplafySlideTemplateConfiguration><![CDATA[{"slideVersion":1,"isValidatorEnabled":false,"isLocked":false,"elementsMetadata":[],"slideId":"921993509173723144","enableDocumentContentUpdater":false,"version":"2.0"}]]></TemplafySlideTemplateConfiguration>
</file>

<file path=customXml/item6.xml><?xml version="1.0" encoding="utf-8"?>
<TemplafySlideFormConfiguration><![CDATA[{"formFields":[],"formDataEntries":[]}]]></TemplafySlideFormConfiguration>
</file>

<file path=customXml/item7.xml><?xml version="1.0" encoding="utf-8"?>
<TemplafySlideTemplateConfiguration><![CDATA[{"slideVersion":1,"isValidatorEnabled":false,"isLocked":false,"elementsMetadata":[],"slideId":"921993509173723144","enableDocumentContentUpdater":false,"version":"2.0"}]]></TemplafySlideTemplateConfiguration>
</file>

<file path=customXml/item8.xml><?xml version="1.0" encoding="utf-8"?>
<TemplafySlideFormConfiguration><![CDATA[{"formFields":[],"formDataEntries":[]}]]></TemplafySlideFormConfiguration>
</file>

<file path=customXml/item9.xml><?xml version="1.0" encoding="utf-8"?>
<TemplafySlideTemplateConfiguration><![CDATA[{"slideVersion":1,"isValidatorEnabled":false,"isLocked":false,"elementsMetadata":[],"slideId":"921993509173723144","enableDocumentContentUpdater":false,"version":"2.0"}]]></TemplafySlideTemplateConfiguration>
</file>

<file path=customXml/itemProps1.xml><?xml version="1.0" encoding="utf-8"?>
<ds:datastoreItem xmlns:ds="http://schemas.openxmlformats.org/officeDocument/2006/customXml" ds:itemID="{DF76FABD-8BA8-4EA6-8BD8-C6C1CDC672B3}">
  <ds:schemaRefs/>
</ds:datastoreItem>
</file>

<file path=customXml/itemProps10.xml><?xml version="1.0" encoding="utf-8"?>
<ds:datastoreItem xmlns:ds="http://schemas.openxmlformats.org/officeDocument/2006/customXml" ds:itemID="{4D85C3B4-4050-4A90-9473-47E66136E1A2}">
  <ds:schemaRefs/>
</ds:datastoreItem>
</file>

<file path=customXml/itemProps11.xml><?xml version="1.0" encoding="utf-8"?>
<ds:datastoreItem xmlns:ds="http://schemas.openxmlformats.org/officeDocument/2006/customXml" ds:itemID="{7B073591-7376-414C-8AC4-58C1FC414788}">
  <ds:schemaRefs/>
</ds:datastoreItem>
</file>

<file path=customXml/itemProps12.xml><?xml version="1.0" encoding="utf-8"?>
<ds:datastoreItem xmlns:ds="http://schemas.openxmlformats.org/officeDocument/2006/customXml" ds:itemID="{2D06FD61-5169-4973-99B3-CF64AB7DB396}">
  <ds:schemaRefs/>
</ds:datastoreItem>
</file>

<file path=customXml/itemProps13.xml><?xml version="1.0" encoding="utf-8"?>
<ds:datastoreItem xmlns:ds="http://schemas.openxmlformats.org/officeDocument/2006/customXml" ds:itemID="{781EB248-A87A-4F8D-B965-E3323C2DDA92}">
  <ds:schemaRefs/>
</ds:datastoreItem>
</file>

<file path=customXml/itemProps14.xml><?xml version="1.0" encoding="utf-8"?>
<ds:datastoreItem xmlns:ds="http://schemas.openxmlformats.org/officeDocument/2006/customXml" ds:itemID="{79470F06-15BF-42AB-AC17-C3A2F650A573}">
  <ds:schemaRefs/>
</ds:datastoreItem>
</file>

<file path=customXml/itemProps15.xml><?xml version="1.0" encoding="utf-8"?>
<ds:datastoreItem xmlns:ds="http://schemas.openxmlformats.org/officeDocument/2006/customXml" ds:itemID="{5213D08C-0AF3-4D90-8069-C9D4B1E73B8C}">
  <ds:schemaRefs/>
</ds:datastoreItem>
</file>

<file path=customXml/itemProps16.xml><?xml version="1.0" encoding="utf-8"?>
<ds:datastoreItem xmlns:ds="http://schemas.openxmlformats.org/officeDocument/2006/customXml" ds:itemID="{55A47ADD-E4A4-4D32-9384-CF733132BAA5}">
  <ds:schemaRefs/>
</ds:datastoreItem>
</file>

<file path=customXml/itemProps17.xml><?xml version="1.0" encoding="utf-8"?>
<ds:datastoreItem xmlns:ds="http://schemas.openxmlformats.org/officeDocument/2006/customXml" ds:itemID="{A0AC967F-FFBB-4A95-8C75-A1969A1EEEEA}">
  <ds:schemaRefs/>
</ds:datastoreItem>
</file>

<file path=customXml/itemProps18.xml><?xml version="1.0" encoding="utf-8"?>
<ds:datastoreItem xmlns:ds="http://schemas.openxmlformats.org/officeDocument/2006/customXml" ds:itemID="{B3741689-0396-42F2-83A3-FB489D9D8FFD}">
  <ds:schemaRefs/>
</ds:datastoreItem>
</file>

<file path=customXml/itemProps19.xml><?xml version="1.0" encoding="utf-8"?>
<ds:datastoreItem xmlns:ds="http://schemas.openxmlformats.org/officeDocument/2006/customXml" ds:itemID="{D817E515-78C4-4D8E-8F82-A6DDDBF0D322}">
  <ds:schemaRefs/>
</ds:datastoreItem>
</file>

<file path=customXml/itemProps2.xml><?xml version="1.0" encoding="utf-8"?>
<ds:datastoreItem xmlns:ds="http://schemas.openxmlformats.org/officeDocument/2006/customXml" ds:itemID="{EA6A0686-2BAA-4D15-9C10-1605892FAC20}">
  <ds:schemaRefs/>
</ds:datastoreItem>
</file>

<file path=customXml/itemProps20.xml><?xml version="1.0" encoding="utf-8"?>
<ds:datastoreItem xmlns:ds="http://schemas.openxmlformats.org/officeDocument/2006/customXml" ds:itemID="{EBB7A5A4-C4A3-424F-8CE9-1EB30D50AE63}">
  <ds:schemaRefs/>
</ds:datastoreItem>
</file>

<file path=customXml/itemProps21.xml><?xml version="1.0" encoding="utf-8"?>
<ds:datastoreItem xmlns:ds="http://schemas.openxmlformats.org/officeDocument/2006/customXml" ds:itemID="{1732C6FC-F4DA-462A-94E4-2A58623BD495}">
  <ds:schemaRefs/>
</ds:datastoreItem>
</file>

<file path=customXml/itemProps22.xml><?xml version="1.0" encoding="utf-8"?>
<ds:datastoreItem xmlns:ds="http://schemas.openxmlformats.org/officeDocument/2006/customXml" ds:itemID="{FC1453E1-DEB0-4D0E-B181-871FB315CF54}">
  <ds:schemaRefs/>
</ds:datastoreItem>
</file>

<file path=customXml/itemProps23.xml><?xml version="1.0" encoding="utf-8"?>
<ds:datastoreItem xmlns:ds="http://schemas.openxmlformats.org/officeDocument/2006/customXml" ds:itemID="{BFF6CBEA-B97F-4045-BE6E-0696AD54C2D2}">
  <ds:schemaRefs/>
</ds:datastoreItem>
</file>

<file path=customXml/itemProps24.xml><?xml version="1.0" encoding="utf-8"?>
<ds:datastoreItem xmlns:ds="http://schemas.openxmlformats.org/officeDocument/2006/customXml" ds:itemID="{9C8DDD79-3A35-4517-A30C-F95804D0318E}">
  <ds:schemaRefs/>
</ds:datastoreItem>
</file>

<file path=customXml/itemProps25.xml><?xml version="1.0" encoding="utf-8"?>
<ds:datastoreItem xmlns:ds="http://schemas.openxmlformats.org/officeDocument/2006/customXml" ds:itemID="{0961CF42-2619-40F3-8527-8FA18BA036CE}">
  <ds:schemaRefs/>
</ds:datastoreItem>
</file>

<file path=customXml/itemProps26.xml><?xml version="1.0" encoding="utf-8"?>
<ds:datastoreItem xmlns:ds="http://schemas.openxmlformats.org/officeDocument/2006/customXml" ds:itemID="{E426248B-2E92-4CD3-B3B3-16517BB98914}">
  <ds:schemaRefs/>
</ds:datastoreItem>
</file>

<file path=customXml/itemProps27.xml><?xml version="1.0" encoding="utf-8"?>
<ds:datastoreItem xmlns:ds="http://schemas.openxmlformats.org/officeDocument/2006/customXml" ds:itemID="{3CE4A7FD-53B6-442B-BBC9-25097401B5AC}">
  <ds:schemaRefs/>
</ds:datastoreItem>
</file>

<file path=customXml/itemProps28.xml><?xml version="1.0" encoding="utf-8"?>
<ds:datastoreItem xmlns:ds="http://schemas.openxmlformats.org/officeDocument/2006/customXml" ds:itemID="{47107489-6EF6-49C8-9F9D-498E67445E75}">
  <ds:schemaRefs/>
</ds:datastoreItem>
</file>

<file path=customXml/itemProps29.xml><?xml version="1.0" encoding="utf-8"?>
<ds:datastoreItem xmlns:ds="http://schemas.openxmlformats.org/officeDocument/2006/customXml" ds:itemID="{A416FCE3-6A8F-4584-A2CC-7767F9674470}">
  <ds:schemaRefs/>
</ds:datastoreItem>
</file>

<file path=customXml/itemProps3.xml><?xml version="1.0" encoding="utf-8"?>
<ds:datastoreItem xmlns:ds="http://schemas.openxmlformats.org/officeDocument/2006/customXml" ds:itemID="{E6DDE6E9-E643-4715-9EEC-3AE462218269}">
  <ds:schemaRefs/>
</ds:datastoreItem>
</file>

<file path=customXml/itemProps30.xml><?xml version="1.0" encoding="utf-8"?>
<ds:datastoreItem xmlns:ds="http://schemas.openxmlformats.org/officeDocument/2006/customXml" ds:itemID="{D492E371-F494-4973-9AD0-29D758316B83}">
  <ds:schemaRefs/>
</ds:datastoreItem>
</file>

<file path=customXml/itemProps31.xml><?xml version="1.0" encoding="utf-8"?>
<ds:datastoreItem xmlns:ds="http://schemas.openxmlformats.org/officeDocument/2006/customXml" ds:itemID="{BC68CF2A-2A95-4EAC-8B9F-35A6FA010A5C}">
  <ds:schemaRefs/>
</ds:datastoreItem>
</file>

<file path=customXml/itemProps32.xml><?xml version="1.0" encoding="utf-8"?>
<ds:datastoreItem xmlns:ds="http://schemas.openxmlformats.org/officeDocument/2006/customXml" ds:itemID="{75F7557D-4F94-433A-97BE-B61578B77662}">
  <ds:schemaRefs/>
</ds:datastoreItem>
</file>

<file path=customXml/itemProps33.xml><?xml version="1.0" encoding="utf-8"?>
<ds:datastoreItem xmlns:ds="http://schemas.openxmlformats.org/officeDocument/2006/customXml" ds:itemID="{16FA26BC-2076-4F89-905F-5392D0D641F7}">
  <ds:schemaRefs/>
</ds:datastoreItem>
</file>

<file path=customXml/itemProps34.xml><?xml version="1.0" encoding="utf-8"?>
<ds:datastoreItem xmlns:ds="http://schemas.openxmlformats.org/officeDocument/2006/customXml" ds:itemID="{07C461D8-8EB7-44F2-9215-DFAC1C233647}">
  <ds:schemaRefs/>
</ds:datastoreItem>
</file>

<file path=customXml/itemProps35.xml><?xml version="1.0" encoding="utf-8"?>
<ds:datastoreItem xmlns:ds="http://schemas.openxmlformats.org/officeDocument/2006/customXml" ds:itemID="{C2BD9907-7200-48C8-BC24-1E4E824CAFAC}">
  <ds:schemaRefs/>
</ds:datastoreItem>
</file>

<file path=customXml/itemProps36.xml><?xml version="1.0" encoding="utf-8"?>
<ds:datastoreItem xmlns:ds="http://schemas.openxmlformats.org/officeDocument/2006/customXml" ds:itemID="{520355EC-8BFD-417A-A144-443C28CFEC7C}">
  <ds:schemaRefs/>
</ds:datastoreItem>
</file>

<file path=customXml/itemProps37.xml><?xml version="1.0" encoding="utf-8"?>
<ds:datastoreItem xmlns:ds="http://schemas.openxmlformats.org/officeDocument/2006/customXml" ds:itemID="{3D39763E-945B-47BA-9C7A-698B4C80AA2D}">
  <ds:schemaRefs/>
</ds:datastoreItem>
</file>

<file path=customXml/itemProps38.xml><?xml version="1.0" encoding="utf-8"?>
<ds:datastoreItem xmlns:ds="http://schemas.openxmlformats.org/officeDocument/2006/customXml" ds:itemID="{CC29E4CF-6264-4332-B64F-B44105D10F94}">
  <ds:schemaRefs/>
</ds:datastoreItem>
</file>

<file path=customXml/itemProps39.xml><?xml version="1.0" encoding="utf-8"?>
<ds:datastoreItem xmlns:ds="http://schemas.openxmlformats.org/officeDocument/2006/customXml" ds:itemID="{E445824E-9167-4C5D-A9F1-639979171BE3}">
  <ds:schemaRefs/>
</ds:datastoreItem>
</file>

<file path=customXml/itemProps4.xml><?xml version="1.0" encoding="utf-8"?>
<ds:datastoreItem xmlns:ds="http://schemas.openxmlformats.org/officeDocument/2006/customXml" ds:itemID="{7D19112E-6409-44D2-8436-44CE3AEFDBEA}">
  <ds:schemaRefs/>
</ds:datastoreItem>
</file>

<file path=customXml/itemProps40.xml><?xml version="1.0" encoding="utf-8"?>
<ds:datastoreItem xmlns:ds="http://schemas.openxmlformats.org/officeDocument/2006/customXml" ds:itemID="{01646CFF-8B7F-4B08-8FAF-28A27A68EC6F}">
  <ds:schemaRefs/>
</ds:datastoreItem>
</file>

<file path=customXml/itemProps41.xml><?xml version="1.0" encoding="utf-8"?>
<ds:datastoreItem xmlns:ds="http://schemas.openxmlformats.org/officeDocument/2006/customXml" ds:itemID="{6F728C61-2D70-4A17-B5D2-AAA371439023}">
  <ds:schemaRefs/>
</ds:datastoreItem>
</file>

<file path=customXml/itemProps42.xml><?xml version="1.0" encoding="utf-8"?>
<ds:datastoreItem xmlns:ds="http://schemas.openxmlformats.org/officeDocument/2006/customXml" ds:itemID="{B4C8CFDE-08C1-441D-ACBC-F25E8A72418A}">
  <ds:schemaRefs/>
</ds:datastoreItem>
</file>

<file path=customXml/itemProps5.xml><?xml version="1.0" encoding="utf-8"?>
<ds:datastoreItem xmlns:ds="http://schemas.openxmlformats.org/officeDocument/2006/customXml" ds:itemID="{529078AE-D23E-4D85-ACB1-3E57EF160F7C}">
  <ds:schemaRefs/>
</ds:datastoreItem>
</file>

<file path=customXml/itemProps6.xml><?xml version="1.0" encoding="utf-8"?>
<ds:datastoreItem xmlns:ds="http://schemas.openxmlformats.org/officeDocument/2006/customXml" ds:itemID="{9357CD72-ED57-405B-BC22-D7C6E527ACB3}">
  <ds:schemaRefs/>
</ds:datastoreItem>
</file>

<file path=customXml/itemProps7.xml><?xml version="1.0" encoding="utf-8"?>
<ds:datastoreItem xmlns:ds="http://schemas.openxmlformats.org/officeDocument/2006/customXml" ds:itemID="{EA845C39-4065-4ACF-A70E-162B713B5B36}">
  <ds:schemaRefs/>
</ds:datastoreItem>
</file>

<file path=customXml/itemProps8.xml><?xml version="1.0" encoding="utf-8"?>
<ds:datastoreItem xmlns:ds="http://schemas.openxmlformats.org/officeDocument/2006/customXml" ds:itemID="{FCDA623E-1DC9-498E-847C-7EF3FC989CAD}">
  <ds:schemaRefs/>
</ds:datastoreItem>
</file>

<file path=customXml/itemProps9.xml><?xml version="1.0" encoding="utf-8"?>
<ds:datastoreItem xmlns:ds="http://schemas.openxmlformats.org/officeDocument/2006/customXml" ds:itemID="{BB17E649-2426-4507-A675-463126BAFCBF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GasNet šablona</Template>
  <TotalTime>832</TotalTime>
  <Words>1605</Words>
  <Application>Microsoft Office PowerPoint</Application>
  <PresentationFormat>Širokoúhlá obrazovka</PresentationFormat>
  <Paragraphs>265</Paragraphs>
  <Slides>37</Slides>
  <Notes>16</Notes>
  <HiddenSlides>0</HiddenSlides>
  <MMClips>0</MMClips>
  <ScaleCrop>false</ScaleCrop>
  <HeadingPairs>
    <vt:vector size="8" baseType="variant">
      <vt:variant>
        <vt:lpstr>Použitá písma</vt:lpstr>
      </vt:variant>
      <vt:variant>
        <vt:i4>10</vt:i4>
      </vt:variant>
      <vt:variant>
        <vt:lpstr>Motiv</vt:lpstr>
      </vt:variant>
      <vt:variant>
        <vt:i4>3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37</vt:i4>
      </vt:variant>
    </vt:vector>
  </HeadingPairs>
  <TitlesOfParts>
    <vt:vector size="51" baseType="lpstr">
      <vt:lpstr>72</vt:lpstr>
      <vt:lpstr>72 Brand</vt:lpstr>
      <vt:lpstr>Arial</vt:lpstr>
      <vt:lpstr>Calibri</vt:lpstr>
      <vt:lpstr>Helvetica</vt:lpstr>
      <vt:lpstr>Segoe UI</vt:lpstr>
      <vt:lpstr>Segoe UI Light</vt:lpstr>
      <vt:lpstr>Segoe UI Semibold</vt:lpstr>
      <vt:lpstr>Symbol</vt:lpstr>
      <vt:lpstr>Wingdings</vt:lpstr>
      <vt:lpstr>GasNet 16ku9 - základní</vt:lpstr>
      <vt:lpstr>GasNet 16ku9 - manuál</vt:lpstr>
      <vt:lpstr>GasNet 16ku9 - rozšířené</vt:lpstr>
      <vt:lpstr>think-cell Folie</vt:lpstr>
      <vt:lpstr>Uživatelské automatizační nástroje a jejich využití pro zjednodušení každodenní agendy</vt:lpstr>
      <vt:lpstr>Prezentace aplikace PowerPoint</vt:lpstr>
      <vt:lpstr>Zdeněk Pytlíček</vt:lpstr>
      <vt:lpstr>Prezentace aplikace PowerPoint</vt:lpstr>
      <vt:lpstr>Optimalizace</vt:lpstr>
      <vt:lpstr>Prezentace aplikace PowerPoint</vt:lpstr>
      <vt:lpstr>Digitalizace</vt:lpstr>
      <vt:lpstr>Automatizace / robotizace   (automatizace pomocí speciálních aplikací)</vt:lpstr>
      <vt:lpstr>Prezentace aplikace PowerPoint</vt:lpstr>
      <vt:lpstr>Prezentace aplikace PowerPoint</vt:lpstr>
      <vt:lpstr>Prezentace aplikace PowerPoint</vt:lpstr>
      <vt:lpstr>Začněte i vy</vt:lpstr>
      <vt:lpstr>…když to běhá samo</vt:lpstr>
      <vt:lpstr>Prezentace aplikace PowerPoint</vt:lpstr>
      <vt:lpstr>1. Registr smluv – upozornění nákupčích na povinnost zveřejnit objednávku</vt:lpstr>
      <vt:lpstr>Seznam dodavatelů s povinností zveřejňovat smlouvy</vt:lpstr>
      <vt:lpstr>Stažení objednávek nad 50 tisíc</vt:lpstr>
      <vt:lpstr>Zaslání emailového upozornění dotčeným nákupčím</vt:lpstr>
      <vt:lpstr>2. Povinné subjekty – pravidelný monitoring KZOP</vt:lpstr>
      <vt:lpstr>Stažení dat z externí aplikace ve formátu CSV</vt:lpstr>
      <vt:lpstr>Stažení dat z interní databáze obchodních partnerů</vt:lpstr>
      <vt:lpstr>Vytvoření importního souboru pro aktualizaci kmenových záznamů obchodních partnerů v interním systému</vt:lpstr>
      <vt:lpstr>3. Zpracování datových zpráv</vt:lpstr>
      <vt:lpstr>Otevření datové schránky a zobrazení přehledu nezpracovaných datových zpráv</vt:lpstr>
      <vt:lpstr>Postupné otevírání jednotlivých datových zpráv a potvrzení jejich příjmu</vt:lpstr>
      <vt:lpstr>4. Hromadné vytváření dokumentů – vyplňování šablon / vzorových dokumentů </vt:lpstr>
      <vt:lpstr>Přenos údajů z Excelu do Wordu / šablony</vt:lpstr>
      <vt:lpstr>Uložení v PDF a přenos do jakéhokoliv systému nebo složky, případně odeslání emailem</vt:lpstr>
      <vt:lpstr>5. Hromadná změna dat v systémech / aplikacích  </vt:lpstr>
      <vt:lpstr>Načtení zdrojových dat + aktivace změny v cílové aplikaci</vt:lpstr>
      <vt:lpstr>Vložení změněných údajů do cílové aplikace</vt:lpstr>
      <vt:lpstr>6. Pravidelné stahování dat (nákladná integrace systémů nebo aplikací)  </vt:lpstr>
      <vt:lpstr>Přihlášení se do externí webové aplikace</vt:lpstr>
      <vt:lpstr>Výběr filtrů pro export dat a spuštění exportu</vt:lpstr>
      <vt:lpstr>Uložení exportovaných dat do složky nebo odeslání emailem</vt:lpstr>
      <vt:lpstr>Shrnutí   Automatizovat může kdokoliv, i bez znalostí programování </vt:lpstr>
      <vt:lpstr>Děkuji za pozornost</vt:lpstr>
    </vt:vector>
  </TitlesOfParts>
  <Manager>First name Surname</Manager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utomatizace a robotizace  v GasNetu</dc:title>
  <dc:subject>PowerPoint template</dc:subject>
  <dc:creator>Kolafová Martina</dc:creator>
  <dc:description>For PowerPoint 2010 optimized template</dc:description>
  <cp:lastModifiedBy>Pytlíček Zdeněk</cp:lastModifiedBy>
  <cp:revision>32</cp:revision>
  <cp:lastPrinted>2016-08-10T10:29:56Z</cp:lastPrinted>
  <dcterms:created xsi:type="dcterms:W3CDTF">2023-11-23T05:09:06Z</dcterms:created>
  <dcterms:modified xsi:type="dcterms:W3CDTF">2024-09-24T06:39:47Z</dcterms:modified>
</cp:coreProperties>
</file>